
<file path=[Content_Types].xml><?xml version="1.0" encoding="utf-8"?>
<Types xmlns="http://schemas.openxmlformats.org/package/2006/content-types">
  <Default Extension="vml" ContentType="application/vnd.openxmlformats-officedocument.vmlDrawing"/>
  <Default Extension="xlsx" ContentType="application/vnd.openxmlformats-officedocument.spreadsheetml.sheet"/>
  <Default Extension="bin" ContentType="application/vnd.openxmlformats-officedocument.oleObject"/>
  <Default Extension="png" ContentType="image/png"/>
  <Default Extension="wdp" ContentType="image/vnd.ms-photo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charts/chart3.xml" ContentType="application/vnd.openxmlformats-officedocument.drawingml.chart+xml"/>
  <Override PartName="/ppt/charts/chart30.xml" ContentType="application/vnd.openxmlformats-officedocument.drawingml.chart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charts/chart33.xml" ContentType="application/vnd.openxmlformats-officedocument.drawingml.chart+xml"/>
  <Override PartName="/ppt/charts/chart34.xml" ContentType="application/vnd.openxmlformats-officedocument.drawingml.chart+xml"/>
  <Override PartName="/ppt/charts/chart35.xml" ContentType="application/vnd.openxmlformats-officedocument.drawingml.chart+xml"/>
  <Override PartName="/ppt/charts/chart36.xml" ContentType="application/vnd.openxmlformats-officedocument.drawingml.chart+xml"/>
  <Override PartName="/ppt/charts/chart37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olors1.xml" ContentType="application/vnd.ms-office.chartcolorstyle+xml"/>
  <Override PartName="/ppt/charts/colors10.xml" ContentType="application/vnd.ms-office.chartcolorstyle+xml"/>
  <Override PartName="/ppt/charts/colors11.xml" ContentType="application/vnd.ms-office.chartcolorstyle+xml"/>
  <Override PartName="/ppt/charts/colors12.xml" ContentType="application/vnd.ms-office.chartcolorstyle+xml"/>
  <Override PartName="/ppt/charts/colors13.xml" ContentType="application/vnd.ms-office.chartcolorstyle+xml"/>
  <Override PartName="/ppt/charts/colors14.xml" ContentType="application/vnd.ms-office.chartcolorstyle+xml"/>
  <Override PartName="/ppt/charts/colors15.xml" ContentType="application/vnd.ms-office.chartcolorstyle+xml"/>
  <Override PartName="/ppt/charts/colors16.xml" ContentType="application/vnd.ms-office.chartcolorstyle+xml"/>
  <Override PartName="/ppt/charts/colors17.xml" ContentType="application/vnd.ms-office.chartcolorstyle+xml"/>
  <Override PartName="/ppt/charts/colors18.xml" ContentType="application/vnd.ms-office.chartcolorstyle+xml"/>
  <Override PartName="/ppt/charts/colors19.xml" ContentType="application/vnd.ms-office.chartcolorstyle+xml"/>
  <Override PartName="/ppt/charts/colors2.xml" ContentType="application/vnd.ms-office.chartcolorstyle+xml"/>
  <Override PartName="/ppt/charts/colors20.xml" ContentType="application/vnd.ms-office.chartcolorstyle+xml"/>
  <Override PartName="/ppt/charts/colors21.xml" ContentType="application/vnd.ms-office.chartcolorstyle+xml"/>
  <Override PartName="/ppt/charts/colors22.xml" ContentType="application/vnd.ms-office.chartcolorstyle+xml"/>
  <Override PartName="/ppt/charts/colors23.xml" ContentType="application/vnd.ms-office.chartcolorstyle+xml"/>
  <Override PartName="/ppt/charts/colors24.xml" ContentType="application/vnd.ms-office.chartcolorstyle+xml"/>
  <Override PartName="/ppt/charts/colors25.xml" ContentType="application/vnd.ms-office.chartcolorstyle+xml"/>
  <Override PartName="/ppt/charts/colors26.xml" ContentType="application/vnd.ms-office.chartcolorstyle+xml"/>
  <Override PartName="/ppt/charts/colors27.xml" ContentType="application/vnd.ms-office.chartcolorstyle+xml"/>
  <Override PartName="/ppt/charts/colors28.xml" ContentType="application/vnd.ms-office.chartcolorstyle+xml"/>
  <Override PartName="/ppt/charts/colors29.xml" ContentType="application/vnd.ms-office.chartcolorstyle+xml"/>
  <Override PartName="/ppt/charts/colors3.xml" ContentType="application/vnd.ms-office.chartcolorstyle+xml"/>
  <Override PartName="/ppt/charts/colors30.xml" ContentType="application/vnd.ms-office.chartcolorstyle+xml"/>
  <Override PartName="/ppt/charts/colors31.xml" ContentType="application/vnd.ms-office.chartcolorstyle+xml"/>
  <Override PartName="/ppt/charts/colors32.xml" ContentType="application/vnd.ms-office.chartcolorstyle+xml"/>
  <Override PartName="/ppt/charts/colors33.xml" ContentType="application/vnd.ms-office.chartcolorstyle+xml"/>
  <Override PartName="/ppt/charts/colors34.xml" ContentType="application/vnd.ms-office.chartcolorstyle+xml"/>
  <Override PartName="/ppt/charts/colors35.xml" ContentType="application/vnd.ms-office.chartcolorstyle+xml"/>
  <Override PartName="/ppt/charts/colors36.xml" ContentType="application/vnd.ms-office.chartcolorstyle+xml"/>
  <Override PartName="/ppt/charts/colors4.xml" ContentType="application/vnd.ms-office.chartcolorstyle+xml"/>
  <Override PartName="/ppt/charts/colors5.xml" ContentType="application/vnd.ms-office.chartcolorstyle+xml"/>
  <Override PartName="/ppt/charts/colors6.xml" ContentType="application/vnd.ms-office.chartcolorstyle+xml"/>
  <Override PartName="/ppt/charts/colors7.xml" ContentType="application/vnd.ms-office.chartcolorstyle+xml"/>
  <Override PartName="/ppt/charts/colors8.xml" ContentType="application/vnd.ms-office.chartcolorstyle+xml"/>
  <Override PartName="/ppt/charts/colors9.xml" ContentType="application/vnd.ms-office.chartcolorstyle+xml"/>
  <Override PartName="/ppt/charts/style1.xml" ContentType="application/vnd.ms-office.chartstyle+xml"/>
  <Override PartName="/ppt/charts/style10.xml" ContentType="application/vnd.ms-office.chartstyle+xml"/>
  <Override PartName="/ppt/charts/style11.xml" ContentType="application/vnd.ms-office.chartstyle+xml"/>
  <Override PartName="/ppt/charts/style12.xml" ContentType="application/vnd.ms-office.chartstyle+xml"/>
  <Override PartName="/ppt/charts/style13.xml" ContentType="application/vnd.ms-office.chartstyle+xml"/>
  <Override PartName="/ppt/charts/style14.xml" ContentType="application/vnd.ms-office.chartstyle+xml"/>
  <Override PartName="/ppt/charts/style15.xml" ContentType="application/vnd.ms-office.chartstyle+xml"/>
  <Override PartName="/ppt/charts/style16.xml" ContentType="application/vnd.ms-office.chartstyle+xml"/>
  <Override PartName="/ppt/charts/style17.xml" ContentType="application/vnd.ms-office.chartstyle+xml"/>
  <Override PartName="/ppt/charts/style18.xml" ContentType="application/vnd.ms-office.chartstyle+xml"/>
  <Override PartName="/ppt/charts/style19.xml" ContentType="application/vnd.ms-office.chartstyle+xml"/>
  <Override PartName="/ppt/charts/style2.xml" ContentType="application/vnd.ms-office.chartstyle+xml"/>
  <Override PartName="/ppt/charts/style20.xml" ContentType="application/vnd.ms-office.chartstyle+xml"/>
  <Override PartName="/ppt/charts/style21.xml" ContentType="application/vnd.ms-office.chartstyle+xml"/>
  <Override PartName="/ppt/charts/style22.xml" ContentType="application/vnd.ms-office.chartstyle+xml"/>
  <Override PartName="/ppt/charts/style23.xml" ContentType="application/vnd.ms-office.chartstyle+xml"/>
  <Override PartName="/ppt/charts/style24.xml" ContentType="application/vnd.ms-office.chartstyle+xml"/>
  <Override PartName="/ppt/charts/style25.xml" ContentType="application/vnd.ms-office.chartstyle+xml"/>
  <Override PartName="/ppt/charts/style26.xml" ContentType="application/vnd.ms-office.chartstyle+xml"/>
  <Override PartName="/ppt/charts/style27.xml" ContentType="application/vnd.ms-office.chartstyle+xml"/>
  <Override PartName="/ppt/charts/style28.xml" ContentType="application/vnd.ms-office.chartstyle+xml"/>
  <Override PartName="/ppt/charts/style29.xml" ContentType="application/vnd.ms-office.chartstyle+xml"/>
  <Override PartName="/ppt/charts/style3.xml" ContentType="application/vnd.ms-office.chartstyle+xml"/>
  <Override PartName="/ppt/charts/style30.xml" ContentType="application/vnd.ms-office.chartstyle+xml"/>
  <Override PartName="/ppt/charts/style31.xml" ContentType="application/vnd.ms-office.chartstyle+xml"/>
  <Override PartName="/ppt/charts/style32.xml" ContentType="application/vnd.ms-office.chartstyle+xml"/>
  <Override PartName="/ppt/charts/style33.xml" ContentType="application/vnd.ms-office.chartstyle+xml"/>
  <Override PartName="/ppt/charts/style34.xml" ContentType="application/vnd.ms-office.chartstyle+xml"/>
  <Override PartName="/ppt/charts/style35.xml" ContentType="application/vnd.ms-office.chartstyle+xml"/>
  <Override PartName="/ppt/charts/style36.xml" ContentType="application/vnd.ms-office.chartstyle+xml"/>
  <Override PartName="/ppt/charts/style4.xml" ContentType="application/vnd.ms-office.chartstyle+xml"/>
  <Override PartName="/ppt/charts/style5.xml" ContentType="application/vnd.ms-office.chartstyle+xml"/>
  <Override PartName="/ppt/charts/style6.xml" ContentType="application/vnd.ms-office.chartstyle+xml"/>
  <Override PartName="/ppt/charts/style7.xml" ContentType="application/vnd.ms-office.chartstyle+xml"/>
  <Override PartName="/ppt/charts/style8.xml" ContentType="application/vnd.ms-office.chartstyle+xml"/>
  <Override PartName="/ppt/charts/style9.xml" ContentType="application/vnd.ms-office.chartstyle+xml"/>
  <Override PartName="/ppt/commentAuthors.xml" ContentType="application/vnd.openxmlformats-officedocument.presentationml.commentAuthors+xml"/>
  <Override PartName="/ppt/drawings/drawing1.xml" ContentType="application/vnd.openxmlformats-officedocument.drawingml.chartshapes+xml"/>
  <Override PartName="/ppt/drawings/drawing2.xml" ContentType="application/vnd.openxmlformats-officedocument.drawingml.chartshap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5"/>
  </p:notesMasterIdLst>
  <p:handoutMasterIdLst>
    <p:handoutMasterId r:id="rId38"/>
  </p:handoutMasterIdLst>
  <p:sldIdLst>
    <p:sldId id="258" r:id="rId3"/>
    <p:sldId id="339" r:id="rId4"/>
    <p:sldId id="340" r:id="rId6"/>
    <p:sldId id="341" r:id="rId7"/>
    <p:sldId id="337" r:id="rId8"/>
    <p:sldId id="336" r:id="rId9"/>
    <p:sldId id="338" r:id="rId10"/>
    <p:sldId id="314" r:id="rId11"/>
    <p:sldId id="260" r:id="rId12"/>
    <p:sldId id="321" r:id="rId13"/>
    <p:sldId id="322" r:id="rId14"/>
    <p:sldId id="323" r:id="rId15"/>
    <p:sldId id="325" r:id="rId16"/>
    <p:sldId id="324" r:id="rId17"/>
    <p:sldId id="326" r:id="rId18"/>
    <p:sldId id="327" r:id="rId19"/>
    <p:sldId id="356" r:id="rId20"/>
    <p:sldId id="328" r:id="rId21"/>
    <p:sldId id="330" r:id="rId22"/>
    <p:sldId id="342" r:id="rId23"/>
    <p:sldId id="343" r:id="rId24"/>
    <p:sldId id="350" r:id="rId25"/>
    <p:sldId id="345" r:id="rId26"/>
    <p:sldId id="346" r:id="rId27"/>
    <p:sldId id="347" r:id="rId28"/>
    <p:sldId id="348" r:id="rId29"/>
    <p:sldId id="349" r:id="rId30"/>
    <p:sldId id="331" r:id="rId31"/>
    <p:sldId id="333" r:id="rId32"/>
    <p:sldId id="332" r:id="rId33"/>
    <p:sldId id="334" r:id="rId34"/>
    <p:sldId id="352" r:id="rId35"/>
    <p:sldId id="353" r:id="rId36"/>
    <p:sldId id="354" r:id="rId37"/>
  </p:sldIdLst>
  <p:sldSz cx="12192000" cy="6858000"/>
  <p:notesSz cx="6858000" cy="9144000"/>
  <p:custDataLst>
    <p:tags r:id="rId4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" id="{EA0DC41E-9D38-425F-9623-F567E0BC4142}">
          <p14:sldIdLst>
            <p14:sldId id="258"/>
            <p14:sldId id="339"/>
            <p14:sldId id="340"/>
          </p14:sldIdLst>
        </p14:section>
        <p14:section name="Download" id="{24337197-6FE9-47C8-9C5C-2B4645002723}">
          <p14:sldIdLst>
            <p14:sldId id="341"/>
            <p14:sldId id="337"/>
            <p14:sldId id="336"/>
            <p14:sldId id="338"/>
          </p14:sldIdLst>
        </p14:section>
        <p14:section name="Active Users" id="{32E720DB-299D-4A07-9C81-B1148FD41DA5}">
          <p14:sldIdLst>
            <p14:sldId id="314"/>
            <p14:sldId id="260"/>
            <p14:sldId id="321"/>
            <p14:sldId id="322"/>
          </p14:sldIdLst>
        </p14:section>
        <p14:section name="Journey" id="{45D1CE8A-2102-4048-840E-CD95A2E4B460}">
          <p14:sldIdLst>
            <p14:sldId id="323"/>
            <p14:sldId id="325"/>
            <p14:sldId id="324"/>
            <p14:sldId id="326"/>
          </p14:sldIdLst>
        </p14:section>
        <p14:section name="Running time" id="{8420EA37-B83F-4BE7-A988-6DAB1376885B}">
          <p14:sldIdLst>
            <p14:sldId id="327"/>
            <p14:sldId id="356"/>
            <p14:sldId id="330"/>
            <p14:sldId id="328"/>
          </p14:sldIdLst>
        </p14:section>
        <p14:section name="User Activity" id="{188DFB22-8830-497D-B48B-9A24955E9C96}">
          <p14:sldIdLst>
            <p14:sldId id="342"/>
            <p14:sldId id="343"/>
            <p14:sldId id="350"/>
            <p14:sldId id="345"/>
          </p14:sldIdLst>
        </p14:section>
        <p14:section name="User preferred charging destination" id="{2C19DBFA-A331-48F3-AB2E-95D06D14504E}">
          <p14:sldIdLst>
            <p14:sldId id="346"/>
            <p14:sldId id="347"/>
            <p14:sldId id="348"/>
            <p14:sldId id="349"/>
          </p14:sldIdLst>
        </p14:section>
        <p14:section name="Recommended models" id="{2914654E-BC1A-4B5A-B87E-0141869E1B33}">
          <p14:sldIdLst>
            <p14:sldId id="331"/>
            <p14:sldId id="333"/>
            <p14:sldId id="332"/>
            <p14:sldId id="334"/>
          </p14:sldIdLst>
        </p14:section>
        <p14:section name="Incident" id="{FABBADB5-2D25-48D1-BDCE-47E644218AFC}">
          <p14:sldIdLst>
            <p14:sldId id="352"/>
            <p14:sldId id="353"/>
            <p14:sldId id="354"/>
          </p14:sldIdLst>
        </p14:section>
      </p14:section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istrator" initials="A" lastIdx="1" clrIdx="0"/>
  <p:cmAuthor id="2" name="叶 先生" initials="叶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0061D"/>
    <a:srgbClr val="4C4C4C"/>
    <a:srgbClr val="C00000"/>
    <a:srgbClr val="C10303"/>
    <a:srgbClr val="575757"/>
    <a:srgbClr val="E2BCBF"/>
    <a:srgbClr val="BB0A30"/>
    <a:srgbClr val="C6C6C6"/>
    <a:srgbClr val="89898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756" autoAdjust="0"/>
    <p:restoredTop sz="96763" autoAdjust="0"/>
  </p:normalViewPr>
  <p:slideViewPr>
    <p:cSldViewPr showGuides="1">
      <p:cViewPr varScale="1">
        <p:scale>
          <a:sx n="62" d="100"/>
          <a:sy n="62" d="100"/>
        </p:scale>
        <p:origin x="48" y="156"/>
      </p:cViewPr>
      <p:guideLst>
        <p:guide orient="horz" pos="912"/>
        <p:guide orient="horz" pos="3552"/>
        <p:guide pos="3898"/>
        <p:guide pos="438"/>
        <p:guide orient="horz" pos="4125"/>
        <p:guide orient="horz" pos="1344"/>
        <p:guide pos="3788"/>
        <p:guide pos="7442"/>
        <p:guide pos="6600"/>
        <p:guide orient="horz" pos="624"/>
        <p:guide orient="horz" pos="2160"/>
      </p:guideLst>
    </p:cSldViewPr>
  </p:slideViewPr>
  <p:outlineViewPr>
    <p:cViewPr>
      <p:scale>
        <a:sx n="33" d="100"/>
        <a:sy n="33" d="100"/>
      </p:scale>
      <p:origin x="0" y="229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9" d="100"/>
          <a:sy n="99" d="100"/>
        </p:scale>
        <p:origin x="-3492" y="-96"/>
      </p:cViewPr>
      <p:guideLst>
        <p:guide orient="horz" pos="2880"/>
        <p:guide pos="219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notesMaster" Target="notesMasters/notesMaster1.xml"/><Relationship Id="rId43" Type="http://schemas.openxmlformats.org/officeDocument/2006/relationships/tags" Target="tags/tag75.xml"/><Relationship Id="rId42" Type="http://schemas.openxmlformats.org/officeDocument/2006/relationships/commentAuthors" Target="commentAuthors.xml"/><Relationship Id="rId41" Type="http://schemas.openxmlformats.org/officeDocument/2006/relationships/tableStyles" Target="tableStyles.xml"/><Relationship Id="rId40" Type="http://schemas.openxmlformats.org/officeDocument/2006/relationships/viewProps" Target="viewProps.xml"/><Relationship Id="rId4" Type="http://schemas.openxmlformats.org/officeDocument/2006/relationships/slide" Target="slides/slide2.xml"/><Relationship Id="rId39" Type="http://schemas.openxmlformats.org/officeDocument/2006/relationships/presProps" Target="presProps.xml"/><Relationship Id="rId38" Type="http://schemas.openxmlformats.org/officeDocument/2006/relationships/handoutMaster" Target="handoutMasters/handoutMaster1.xml"/><Relationship Id="rId37" Type="http://schemas.openxmlformats.org/officeDocument/2006/relationships/slide" Target="slides/slide34.xml"/><Relationship Id="rId36" Type="http://schemas.openxmlformats.org/officeDocument/2006/relationships/slide" Target="slides/slide33.xml"/><Relationship Id="rId35" Type="http://schemas.openxmlformats.org/officeDocument/2006/relationships/slide" Target="slides/slide32.xml"/><Relationship Id="rId34" Type="http://schemas.openxmlformats.org/officeDocument/2006/relationships/slide" Target="slides/slide31.xml"/><Relationship Id="rId33" Type="http://schemas.openxmlformats.org/officeDocument/2006/relationships/slide" Target="slides/slide30.xml"/><Relationship Id="rId32" Type="http://schemas.openxmlformats.org/officeDocument/2006/relationships/slide" Target="slides/slide29.xml"/><Relationship Id="rId31" Type="http://schemas.openxmlformats.org/officeDocument/2006/relationships/slide" Target="slides/slide28.xml"/><Relationship Id="rId30" Type="http://schemas.openxmlformats.org/officeDocument/2006/relationships/slide" Target="slides/slide27.xml"/><Relationship Id="rId3" Type="http://schemas.openxmlformats.org/officeDocument/2006/relationships/slide" Target="slides/slide1.xml"/><Relationship Id="rId29" Type="http://schemas.openxmlformats.org/officeDocument/2006/relationships/slide" Target="slides/slide26.xml"/><Relationship Id="rId28" Type="http://schemas.openxmlformats.org/officeDocument/2006/relationships/slide" Target="slides/slide25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4" Type="http://schemas.microsoft.com/office/2011/relationships/chartColorStyle" Target="colors1.xml"/><Relationship Id="rId3" Type="http://schemas.microsoft.com/office/2011/relationships/chartStyle" Target="style1.xml"/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Workbook1.xlsx"/></Relationships>
</file>

<file path=ppt/charts/_rels/chart10.xml.rels><?xml version="1.0" encoding="UTF-8" standalone="yes"?>
<Relationships xmlns="http://schemas.openxmlformats.org/package/2006/relationships"><Relationship Id="rId3" Type="http://schemas.microsoft.com/office/2011/relationships/chartColorStyle" Target="colors10.xml"/><Relationship Id="rId2" Type="http://schemas.microsoft.com/office/2011/relationships/chartStyle" Target="style10.xml"/><Relationship Id="rId1" Type="http://schemas.openxmlformats.org/officeDocument/2006/relationships/package" Target="../embeddings/Workbook10.xlsx"/></Relationships>
</file>

<file path=ppt/charts/_rels/chart11.xml.rels><?xml version="1.0" encoding="UTF-8" standalone="yes"?>
<Relationships xmlns="http://schemas.openxmlformats.org/package/2006/relationships"><Relationship Id="rId3" Type="http://schemas.microsoft.com/office/2011/relationships/chartColorStyle" Target="colors11.xml"/><Relationship Id="rId2" Type="http://schemas.microsoft.com/office/2011/relationships/chartStyle" Target="style11.xml"/><Relationship Id="rId1" Type="http://schemas.openxmlformats.org/officeDocument/2006/relationships/package" Target="../embeddings/Workbook11.xlsx"/></Relationships>
</file>

<file path=ppt/charts/_rels/chart12.xml.rels><?xml version="1.0" encoding="UTF-8" standalone="yes"?>
<Relationships xmlns="http://schemas.openxmlformats.org/package/2006/relationships"><Relationship Id="rId3" Type="http://schemas.microsoft.com/office/2011/relationships/chartColorStyle" Target="colors12.xml"/><Relationship Id="rId2" Type="http://schemas.microsoft.com/office/2011/relationships/chartStyle" Target="style12.xml"/><Relationship Id="rId1" Type="http://schemas.openxmlformats.org/officeDocument/2006/relationships/package" Target="../embeddings/Workbook12.xlsx"/></Relationships>
</file>

<file path=ppt/charts/_rels/chart13.xml.rels><?xml version="1.0" encoding="UTF-8" standalone="yes"?>
<Relationships xmlns="http://schemas.openxmlformats.org/package/2006/relationships"><Relationship Id="rId3" Type="http://schemas.microsoft.com/office/2011/relationships/chartColorStyle" Target="colors13.xml"/><Relationship Id="rId2" Type="http://schemas.microsoft.com/office/2011/relationships/chartStyle" Target="style13.xml"/><Relationship Id="rId1" Type="http://schemas.openxmlformats.org/officeDocument/2006/relationships/package" Target="../embeddings/Workbook13.xlsx"/></Relationships>
</file>

<file path=ppt/charts/_rels/chart14.xml.rels><?xml version="1.0" encoding="UTF-8" standalone="yes"?>
<Relationships xmlns="http://schemas.openxmlformats.org/package/2006/relationships"><Relationship Id="rId3" Type="http://schemas.microsoft.com/office/2011/relationships/chartColorStyle" Target="colors14.xml"/><Relationship Id="rId2" Type="http://schemas.microsoft.com/office/2011/relationships/chartStyle" Target="style14.xml"/><Relationship Id="rId1" Type="http://schemas.openxmlformats.org/officeDocument/2006/relationships/package" Target="../embeddings/Workbook14.xlsx"/></Relationships>
</file>

<file path=ppt/charts/_rels/chart15.xml.rels><?xml version="1.0" encoding="UTF-8" standalone="yes"?>
<Relationships xmlns="http://schemas.openxmlformats.org/package/2006/relationships"><Relationship Id="rId3" Type="http://schemas.microsoft.com/office/2011/relationships/chartColorStyle" Target="colors15.xml"/><Relationship Id="rId2" Type="http://schemas.microsoft.com/office/2011/relationships/chartStyle" Target="style15.xml"/><Relationship Id="rId1" Type="http://schemas.openxmlformats.org/officeDocument/2006/relationships/package" Target="../embeddings/Workbook15.xlsx"/></Relationships>
</file>

<file path=ppt/charts/_rels/chart16.xml.rels><?xml version="1.0" encoding="UTF-8" standalone="yes"?>
<Relationships xmlns="http://schemas.openxmlformats.org/package/2006/relationships"><Relationship Id="rId3" Type="http://schemas.microsoft.com/office/2011/relationships/chartColorStyle" Target="colors16.xml"/><Relationship Id="rId2" Type="http://schemas.microsoft.com/office/2011/relationships/chartStyle" Target="style16.xml"/><Relationship Id="rId1" Type="http://schemas.openxmlformats.org/officeDocument/2006/relationships/package" Target="../embeddings/Workbook16.xlsx"/></Relationships>
</file>

<file path=ppt/charts/_rels/chart17.xml.rels><?xml version="1.0" encoding="UTF-8" standalone="yes"?>
<Relationships xmlns="http://schemas.openxmlformats.org/package/2006/relationships"><Relationship Id="rId3" Type="http://schemas.microsoft.com/office/2011/relationships/chartColorStyle" Target="colors17.xml"/><Relationship Id="rId2" Type="http://schemas.microsoft.com/office/2011/relationships/chartStyle" Target="style17.xml"/><Relationship Id="rId1" Type="http://schemas.openxmlformats.org/officeDocument/2006/relationships/package" Target="../embeddings/Workbook17.xlsx"/></Relationships>
</file>

<file path=ppt/charts/_rels/chart18.xml.rels><?xml version="1.0" encoding="UTF-8" standalone="yes"?>
<Relationships xmlns="http://schemas.openxmlformats.org/package/2006/relationships"><Relationship Id="rId3" Type="http://schemas.microsoft.com/office/2011/relationships/chartColorStyle" Target="colors18.xml"/><Relationship Id="rId2" Type="http://schemas.microsoft.com/office/2011/relationships/chartStyle" Target="style18.xml"/><Relationship Id="rId1" Type="http://schemas.openxmlformats.org/officeDocument/2006/relationships/package" Target="../embeddings/Workbook18.xlsx"/></Relationships>
</file>

<file path=ppt/charts/_rels/chart19.xml.rels><?xml version="1.0" encoding="UTF-8" standalone="yes"?>
<Relationships xmlns="http://schemas.openxmlformats.org/package/2006/relationships"><Relationship Id="rId3" Type="http://schemas.microsoft.com/office/2011/relationships/chartColorStyle" Target="colors19.xml"/><Relationship Id="rId2" Type="http://schemas.microsoft.com/office/2011/relationships/chartStyle" Target="style19.xml"/><Relationship Id="rId1" Type="http://schemas.openxmlformats.org/officeDocument/2006/relationships/package" Target="../embeddings/Workbook19.xlsx"/></Relationships>
</file>

<file path=ppt/charts/_rels/chart2.xml.rels><?xml version="1.0" encoding="UTF-8" standalone="yes"?>
<Relationships xmlns="http://schemas.openxmlformats.org/package/2006/relationships"><Relationship Id="rId4" Type="http://schemas.microsoft.com/office/2011/relationships/chartColorStyle" Target="colors2.xml"/><Relationship Id="rId3" Type="http://schemas.microsoft.com/office/2011/relationships/chartStyle" Target="style2.xml"/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Workbook2.xlsx"/></Relationships>
</file>

<file path=ppt/charts/_rels/chart20.xml.rels><?xml version="1.0" encoding="UTF-8" standalone="yes"?>
<Relationships xmlns="http://schemas.openxmlformats.org/package/2006/relationships"><Relationship Id="rId3" Type="http://schemas.microsoft.com/office/2011/relationships/chartColorStyle" Target="colors20.xml"/><Relationship Id="rId2" Type="http://schemas.microsoft.com/office/2011/relationships/chartStyle" Target="style20.xml"/><Relationship Id="rId1" Type="http://schemas.openxmlformats.org/officeDocument/2006/relationships/package" Target="../embeddings/Workbook20.xlsx"/></Relationships>
</file>

<file path=ppt/charts/_rels/chart21.xml.rels><?xml version="1.0" encoding="UTF-8" standalone="yes"?>
<Relationships xmlns="http://schemas.openxmlformats.org/package/2006/relationships"><Relationship Id="rId3" Type="http://schemas.microsoft.com/office/2011/relationships/chartColorStyle" Target="colors21.xml"/><Relationship Id="rId2" Type="http://schemas.microsoft.com/office/2011/relationships/chartStyle" Target="style21.xml"/><Relationship Id="rId1" Type="http://schemas.openxmlformats.org/officeDocument/2006/relationships/package" Target="../embeddings/Workbook21.xlsx"/></Relationships>
</file>

<file path=ppt/charts/_rels/chart22.xml.rels><?xml version="1.0" encoding="UTF-8" standalone="yes"?>
<Relationships xmlns="http://schemas.openxmlformats.org/package/2006/relationships"><Relationship Id="rId3" Type="http://schemas.microsoft.com/office/2011/relationships/chartColorStyle" Target="colors22.xml"/><Relationship Id="rId2" Type="http://schemas.microsoft.com/office/2011/relationships/chartStyle" Target="style22.xml"/><Relationship Id="rId1" Type="http://schemas.openxmlformats.org/officeDocument/2006/relationships/package" Target="../embeddings/Workbook22.xlsx"/></Relationships>
</file>

<file path=ppt/charts/_rels/chart23.xml.rels><?xml version="1.0" encoding="UTF-8" standalone="yes"?>
<Relationships xmlns="http://schemas.openxmlformats.org/package/2006/relationships"><Relationship Id="rId3" Type="http://schemas.microsoft.com/office/2011/relationships/chartColorStyle" Target="colors23.xml"/><Relationship Id="rId2" Type="http://schemas.microsoft.com/office/2011/relationships/chartStyle" Target="style23.xml"/><Relationship Id="rId1" Type="http://schemas.openxmlformats.org/officeDocument/2006/relationships/package" Target="../embeddings/Workbook23.xlsx"/></Relationships>
</file>

<file path=ppt/charts/_rels/chart24.xml.rels><?xml version="1.0" encoding="UTF-8" standalone="yes"?>
<Relationships xmlns="http://schemas.openxmlformats.org/package/2006/relationships"><Relationship Id="rId3" Type="http://schemas.microsoft.com/office/2011/relationships/chartColorStyle" Target="colors24.xml"/><Relationship Id="rId2" Type="http://schemas.microsoft.com/office/2011/relationships/chartStyle" Target="style24.xml"/><Relationship Id="rId1" Type="http://schemas.openxmlformats.org/officeDocument/2006/relationships/package" Target="../embeddings/Workbook24.xlsx"/></Relationships>
</file>

<file path=ppt/charts/_rels/chart25.xml.rels><?xml version="1.0" encoding="UTF-8" standalone="yes"?>
<Relationships xmlns="http://schemas.openxmlformats.org/package/2006/relationships"><Relationship Id="rId3" Type="http://schemas.microsoft.com/office/2011/relationships/chartColorStyle" Target="colors25.xml"/><Relationship Id="rId2" Type="http://schemas.microsoft.com/office/2011/relationships/chartStyle" Target="style25.xml"/><Relationship Id="rId1" Type="http://schemas.openxmlformats.org/officeDocument/2006/relationships/package" Target="../embeddings/Workbook25.xlsx"/></Relationships>
</file>

<file path=ppt/charts/_rels/chart26.xml.rels><?xml version="1.0" encoding="UTF-8" standalone="yes"?>
<Relationships xmlns="http://schemas.openxmlformats.org/package/2006/relationships"><Relationship Id="rId3" Type="http://schemas.microsoft.com/office/2011/relationships/chartColorStyle" Target="colors26.xml"/><Relationship Id="rId2" Type="http://schemas.microsoft.com/office/2011/relationships/chartStyle" Target="style26.xml"/><Relationship Id="rId1" Type="http://schemas.openxmlformats.org/officeDocument/2006/relationships/package" Target="../embeddings/Workbook26.xlsx"/></Relationships>
</file>

<file path=ppt/charts/_rels/chart27.xml.rels><?xml version="1.0" encoding="UTF-8" standalone="yes"?>
<Relationships xmlns="http://schemas.openxmlformats.org/package/2006/relationships"><Relationship Id="rId3" Type="http://schemas.microsoft.com/office/2011/relationships/chartColorStyle" Target="colors27.xml"/><Relationship Id="rId2" Type="http://schemas.microsoft.com/office/2011/relationships/chartStyle" Target="style27.xml"/><Relationship Id="rId1" Type="http://schemas.openxmlformats.org/officeDocument/2006/relationships/package" Target="../embeddings/Workbook27.xlsx"/></Relationships>
</file>

<file path=ppt/charts/_rels/chart28.xml.rels><?xml version="1.0" encoding="UTF-8" standalone="yes"?>
<Relationships xmlns="http://schemas.openxmlformats.org/package/2006/relationships"><Relationship Id="rId3" Type="http://schemas.microsoft.com/office/2011/relationships/chartColorStyle" Target="colors28.xml"/><Relationship Id="rId2" Type="http://schemas.microsoft.com/office/2011/relationships/chartStyle" Target="style28.xml"/><Relationship Id="rId1" Type="http://schemas.openxmlformats.org/officeDocument/2006/relationships/package" Target="../embeddings/Workbook28.xlsx"/></Relationships>
</file>

<file path=ppt/charts/_rels/chart29.xml.rels><?xml version="1.0" encoding="UTF-8" standalone="yes"?>
<Relationships xmlns="http://schemas.openxmlformats.org/package/2006/relationships"><Relationship Id="rId3" Type="http://schemas.microsoft.com/office/2011/relationships/chartColorStyle" Target="colors29.xml"/><Relationship Id="rId2" Type="http://schemas.microsoft.com/office/2011/relationships/chartStyle" Target="style29.xml"/><Relationship Id="rId1" Type="http://schemas.openxmlformats.org/officeDocument/2006/relationships/package" Target="../embeddings/Workbook29.xlsx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package" Target="../embeddings/Workbook3.xlsx"/></Relationships>
</file>

<file path=ppt/charts/_rels/chart30.xml.rels><?xml version="1.0" encoding="UTF-8" standalone="yes"?>
<Relationships xmlns="http://schemas.openxmlformats.org/package/2006/relationships"><Relationship Id="rId3" Type="http://schemas.microsoft.com/office/2011/relationships/chartColorStyle" Target="colors30.xml"/><Relationship Id="rId2" Type="http://schemas.microsoft.com/office/2011/relationships/chartStyle" Target="style30.xml"/><Relationship Id="rId1" Type="http://schemas.openxmlformats.org/officeDocument/2006/relationships/package" Target="../embeddings/Workbook30.xlsx"/></Relationships>
</file>

<file path=ppt/charts/_rels/chart31.xml.rels><?xml version="1.0" encoding="UTF-8" standalone="yes"?>
<Relationships xmlns="http://schemas.openxmlformats.org/package/2006/relationships"><Relationship Id="rId3" Type="http://schemas.microsoft.com/office/2011/relationships/chartColorStyle" Target="colors31.xml"/><Relationship Id="rId2" Type="http://schemas.microsoft.com/office/2011/relationships/chartStyle" Target="style31.xml"/><Relationship Id="rId1" Type="http://schemas.openxmlformats.org/officeDocument/2006/relationships/package" Target="../embeddings/Workbook31.xlsx"/></Relationships>
</file>

<file path=ppt/charts/_rels/chart32.xml.rels><?xml version="1.0" encoding="UTF-8" standalone="yes"?>
<Relationships xmlns="http://schemas.openxmlformats.org/package/2006/relationships"><Relationship Id="rId3" Type="http://schemas.microsoft.com/office/2011/relationships/chartColorStyle" Target="colors32.xml"/><Relationship Id="rId2" Type="http://schemas.microsoft.com/office/2011/relationships/chartStyle" Target="style32.xml"/><Relationship Id="rId1" Type="http://schemas.openxmlformats.org/officeDocument/2006/relationships/package" Target="../embeddings/Workbook32.xlsx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Workbook33.xlsx"/></Relationships>
</file>

<file path=ppt/charts/_rels/chart34.xml.rels><?xml version="1.0" encoding="UTF-8" standalone="yes"?>
<Relationships xmlns="http://schemas.openxmlformats.org/package/2006/relationships"><Relationship Id="rId3" Type="http://schemas.microsoft.com/office/2011/relationships/chartColorStyle" Target="colors33.xml"/><Relationship Id="rId2" Type="http://schemas.microsoft.com/office/2011/relationships/chartStyle" Target="style33.xml"/><Relationship Id="rId1" Type="http://schemas.openxmlformats.org/officeDocument/2006/relationships/package" Target="../embeddings/Workbook34.xlsx"/></Relationships>
</file>

<file path=ppt/charts/_rels/chart35.xml.rels><?xml version="1.0" encoding="UTF-8" standalone="yes"?>
<Relationships xmlns="http://schemas.openxmlformats.org/package/2006/relationships"><Relationship Id="rId3" Type="http://schemas.microsoft.com/office/2011/relationships/chartColorStyle" Target="colors34.xml"/><Relationship Id="rId2" Type="http://schemas.microsoft.com/office/2011/relationships/chartStyle" Target="style34.xml"/><Relationship Id="rId1" Type="http://schemas.openxmlformats.org/officeDocument/2006/relationships/package" Target="../embeddings/Workbook35.xlsx"/></Relationships>
</file>

<file path=ppt/charts/_rels/chart36.xml.rels><?xml version="1.0" encoding="UTF-8" standalone="yes"?>
<Relationships xmlns="http://schemas.openxmlformats.org/package/2006/relationships"><Relationship Id="rId3" Type="http://schemas.microsoft.com/office/2011/relationships/chartColorStyle" Target="colors35.xml"/><Relationship Id="rId2" Type="http://schemas.microsoft.com/office/2011/relationships/chartStyle" Target="style35.xml"/><Relationship Id="rId1" Type="http://schemas.openxmlformats.org/officeDocument/2006/relationships/package" Target="../embeddings/Workbook36.xlsx"/></Relationships>
</file>

<file path=ppt/charts/_rels/chart37.xml.rels><?xml version="1.0" encoding="UTF-8" standalone="yes"?>
<Relationships xmlns="http://schemas.openxmlformats.org/package/2006/relationships"><Relationship Id="rId3" Type="http://schemas.microsoft.com/office/2011/relationships/chartColorStyle" Target="colors36.xml"/><Relationship Id="rId2" Type="http://schemas.microsoft.com/office/2011/relationships/chartStyle" Target="style36.xml"/><Relationship Id="rId1" Type="http://schemas.openxmlformats.org/officeDocument/2006/relationships/package" Target="../embeddings/Workbook37.xlsx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microsoft.com/office/2011/relationships/chartStyle" Target="style4.xml"/><Relationship Id="rId1" Type="http://schemas.openxmlformats.org/officeDocument/2006/relationships/package" Target="../embeddings/Workbook4.xlsx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ColorStyle" Target="colors5.xml"/><Relationship Id="rId2" Type="http://schemas.microsoft.com/office/2011/relationships/chartStyle" Target="style5.xml"/><Relationship Id="rId1" Type="http://schemas.openxmlformats.org/officeDocument/2006/relationships/package" Target="../embeddings/Workbook5.xlsx"/></Relationships>
</file>

<file path=ppt/charts/_rels/chart6.xml.rels><?xml version="1.0" encoding="UTF-8" standalone="yes"?>
<Relationships xmlns="http://schemas.openxmlformats.org/package/2006/relationships"><Relationship Id="rId3" Type="http://schemas.microsoft.com/office/2011/relationships/chartColorStyle" Target="colors6.xml"/><Relationship Id="rId2" Type="http://schemas.microsoft.com/office/2011/relationships/chartStyle" Target="style6.xml"/><Relationship Id="rId1" Type="http://schemas.openxmlformats.org/officeDocument/2006/relationships/package" Target="../embeddings/Workbook6.xlsx"/></Relationships>
</file>

<file path=ppt/charts/_rels/chart7.xml.rels><?xml version="1.0" encoding="UTF-8" standalone="yes"?>
<Relationships xmlns="http://schemas.openxmlformats.org/package/2006/relationships"><Relationship Id="rId3" Type="http://schemas.microsoft.com/office/2011/relationships/chartColorStyle" Target="colors7.xml"/><Relationship Id="rId2" Type="http://schemas.microsoft.com/office/2011/relationships/chartStyle" Target="style7.xml"/><Relationship Id="rId1" Type="http://schemas.openxmlformats.org/officeDocument/2006/relationships/package" Target="../embeddings/Workbook7.xlsx"/></Relationships>
</file>

<file path=ppt/charts/_rels/chart8.xml.rels><?xml version="1.0" encoding="UTF-8" standalone="yes"?>
<Relationships xmlns="http://schemas.openxmlformats.org/package/2006/relationships"><Relationship Id="rId3" Type="http://schemas.microsoft.com/office/2011/relationships/chartColorStyle" Target="colors8.xml"/><Relationship Id="rId2" Type="http://schemas.microsoft.com/office/2011/relationships/chartStyle" Target="style8.xml"/><Relationship Id="rId1" Type="http://schemas.openxmlformats.org/officeDocument/2006/relationships/package" Target="../embeddings/Workbook8.xlsx"/></Relationships>
</file>

<file path=ppt/charts/_rels/chart9.xml.rels><?xml version="1.0" encoding="UTF-8" standalone="yes"?>
<Relationships xmlns="http://schemas.openxmlformats.org/package/2006/relationships"><Relationship Id="rId3" Type="http://schemas.microsoft.com/office/2011/relationships/chartColorStyle" Target="colors9.xml"/><Relationship Id="rId2" Type="http://schemas.microsoft.com/office/2011/relationships/chartStyle" Target="style9.xml"/><Relationship Id="rId1" Type="http://schemas.openxmlformats.org/officeDocument/2006/relationships/package" Target="../embeddings/Workbook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Downloads-CW 08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1090046074227"/>
          <c:y val="0.160939108356977"/>
          <c:w val="0.761036382495876"/>
          <c:h val="0.50606862211156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Lbls>
            <c:dLbl>
              <c:idx val="3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64:$A$70</c:f>
              <c:numCache>
                <c:formatCode>m/d;@</c:formatCode>
                <c:ptCount val="7"/>
                <c:pt idx="0" c:formatCode="m/d;@">
                  <c:v>43878</c:v>
                </c:pt>
                <c:pt idx="1" c:formatCode="m/d;@">
                  <c:v>43879</c:v>
                </c:pt>
                <c:pt idx="2" c:formatCode="m/d;@">
                  <c:v>43880</c:v>
                </c:pt>
                <c:pt idx="3" c:formatCode="m/d;@">
                  <c:v>43881</c:v>
                </c:pt>
                <c:pt idx="4" c:formatCode="m/d;@">
                  <c:v>43882</c:v>
                </c:pt>
                <c:pt idx="5" c:formatCode="m/d;@">
                  <c:v>43883</c:v>
                </c:pt>
                <c:pt idx="6" c:formatCode="m/d;@">
                  <c:v>43884</c:v>
                </c:pt>
              </c:numCache>
            </c:numRef>
          </c:cat>
          <c:val>
            <c:numRef>
              <c:f>Sheet1!$B$64:$B$70</c:f>
              <c:numCache>
                <c:formatCode>General</c:formatCode>
                <c:ptCount val="7"/>
                <c:pt idx="0">
                  <c:v>3</c:v>
                </c:pt>
                <c:pt idx="1">
                  <c:v>2</c:v>
                </c:pt>
                <c:pt idx="2">
                  <c:v>4</c:v>
                </c:pt>
                <c:pt idx="3">
                  <c:v>2</c:v>
                </c:pt>
                <c:pt idx="4">
                  <c:v>2</c:v>
                </c:pt>
                <c:pt idx="5">
                  <c:v>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</c:dLbl>
            <c:dLbl>
              <c:idx val="4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64:$A$70</c:f>
              <c:numCache>
                <c:formatCode>m/d;@</c:formatCode>
                <c:ptCount val="7"/>
                <c:pt idx="0" c:formatCode="m/d;@">
                  <c:v>43878</c:v>
                </c:pt>
                <c:pt idx="1" c:formatCode="m/d;@">
                  <c:v>43879</c:v>
                </c:pt>
                <c:pt idx="2" c:formatCode="m/d;@">
                  <c:v>43880</c:v>
                </c:pt>
                <c:pt idx="3" c:formatCode="m/d;@">
                  <c:v>43881</c:v>
                </c:pt>
                <c:pt idx="4" c:formatCode="m/d;@">
                  <c:v>43882</c:v>
                </c:pt>
                <c:pt idx="5" c:formatCode="m/d;@">
                  <c:v>43883</c:v>
                </c:pt>
                <c:pt idx="6" c:formatCode="m/d;@">
                  <c:v>43884</c:v>
                </c:pt>
              </c:numCache>
            </c:numRef>
          </c:cat>
          <c:val>
            <c:numRef>
              <c:f>Sheet1!$C$64:$C$70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）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64:$A$70</c:f>
              <c:numCache>
                <c:formatCode>m/d;@</c:formatCode>
                <c:ptCount val="7"/>
                <c:pt idx="0" c:formatCode="m/d;@">
                  <c:v>43878</c:v>
                </c:pt>
                <c:pt idx="1" c:formatCode="m/d;@">
                  <c:v>43879</c:v>
                </c:pt>
                <c:pt idx="2" c:formatCode="m/d;@">
                  <c:v>43880</c:v>
                </c:pt>
                <c:pt idx="3" c:formatCode="m/d;@">
                  <c:v>43881</c:v>
                </c:pt>
                <c:pt idx="4" c:formatCode="m/d;@">
                  <c:v>43882</c:v>
                </c:pt>
                <c:pt idx="5" c:formatCode="m/d;@">
                  <c:v>43883</c:v>
                </c:pt>
                <c:pt idx="6" c:formatCode="m/d;@">
                  <c:v>43884</c:v>
                </c:pt>
              </c:numCache>
            </c:numRef>
          </c:cat>
          <c:val>
            <c:numRef>
              <c:f>Sheet1!$D$64:$D$70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99120768"/>
        <c:axId val="199156096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 Growth Rate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numRef>
              <c:f>Sheet1!$A$64:$A$70</c:f>
              <c:numCache>
                <c:formatCode>m/d;@</c:formatCode>
                <c:ptCount val="7"/>
                <c:pt idx="0" c:formatCode="m/d;@">
                  <c:v>43878</c:v>
                </c:pt>
                <c:pt idx="1" c:formatCode="m/d;@">
                  <c:v>43879</c:v>
                </c:pt>
                <c:pt idx="2" c:formatCode="m/d;@">
                  <c:v>43880</c:v>
                </c:pt>
                <c:pt idx="3" c:formatCode="m/d;@">
                  <c:v>43881</c:v>
                </c:pt>
                <c:pt idx="4" c:formatCode="m/d;@">
                  <c:v>43882</c:v>
                </c:pt>
                <c:pt idx="5" c:formatCode="m/d;@">
                  <c:v>43883</c:v>
                </c:pt>
                <c:pt idx="6" c:formatCode="m/d;@">
                  <c:v>43884</c:v>
                </c:pt>
              </c:numCache>
            </c:numRef>
          </c:cat>
          <c:val>
            <c:numRef>
              <c:f>Sheet1!$E$64:$E$70</c:f>
              <c:numCache>
                <c:formatCode>0%</c:formatCode>
                <c:ptCount val="7"/>
                <c:pt idx="0">
                  <c:v>0.5</c:v>
                </c:pt>
                <c:pt idx="1">
                  <c:v>-0.333333333333333</c:v>
                </c:pt>
                <c:pt idx="2">
                  <c:v>1</c:v>
                </c:pt>
                <c:pt idx="3">
                  <c:v>-0.5</c:v>
                </c:pt>
                <c:pt idx="4">
                  <c:v>0</c:v>
                </c:pt>
                <c:pt idx="5">
                  <c:v>-0.5</c:v>
                </c:pt>
                <c:pt idx="6">
                  <c:v>-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9159808"/>
        <c:axId val="199158016"/>
      </c:lineChart>
      <c:dateAx>
        <c:axId val="19912076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dirty="0"/>
                  <a:t>Date</a:t>
                </a:r>
                <a:endParaRPr lang="zh-CN" alt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6096"/>
        <c:crosses val="autoZero"/>
        <c:auto val="1"/>
        <c:lblOffset val="100"/>
        <c:baseTimeUnit val="days"/>
      </c:dateAx>
      <c:valAx>
        <c:axId val="1991560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20768"/>
        <c:crosses val="autoZero"/>
        <c:crossBetween val="between"/>
      </c:valAx>
      <c:dateAx>
        <c:axId val="19915980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8016"/>
        <c:crosses val="autoZero"/>
        <c:auto val="1"/>
        <c:lblOffset val="100"/>
        <c:baseTimeUnit val="days"/>
        <c:majorUnit val="1"/>
        <c:majorTimeUnit val="days"/>
        <c:minorUnit val="1"/>
        <c:minorTimeUnit val="days"/>
      </c:dateAx>
      <c:valAx>
        <c:axId val="199158016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98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dirty="0">
                <a:latin typeface="+mj-lt"/>
              </a:rPr>
              <a:t>Average</a:t>
            </a:r>
            <a:r>
              <a:rPr lang="en-US" altLang="zh-CN" sz="1800" baseline="0" dirty="0">
                <a:latin typeface="+mj-lt"/>
              </a:rPr>
              <a:t> </a:t>
            </a:r>
            <a:r>
              <a:rPr lang="en-US" altLang="zh-CN" sz="1800" dirty="0">
                <a:latin typeface="+mj-lt"/>
              </a:rPr>
              <a:t>Weekly Active Users</a:t>
            </a:r>
            <a:endParaRPr lang="en-US" sz="1800" dirty="0">
              <a:latin typeface="+mj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</c:strCache>
            </c:strRef>
          </c:cat>
          <c:val>
            <c:numRef>
              <c:f>Sheet1!$B$2:$B$47</c:f>
              <c:numCache>
                <c:formatCode>General</c:formatCode>
                <c:ptCount val="46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  <c:pt idx="39">
                  <c:v>21</c:v>
                </c:pt>
                <c:pt idx="40">
                  <c:v>14</c:v>
                </c:pt>
                <c:pt idx="41">
                  <c:v>26</c:v>
                </c:pt>
                <c:pt idx="42">
                  <c:v>25</c:v>
                </c:pt>
                <c:pt idx="43">
                  <c:v>14</c:v>
                </c:pt>
                <c:pt idx="44">
                  <c:v>25</c:v>
                </c:pt>
                <c:pt idx="45">
                  <c:v>2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05967744"/>
        <c:axId val="20596966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Active User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1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5b8c9d36-2e96-4758-a38d-10ec4583bf0e}" type="VALUE">
                      <a:t>[VALUE]</a:t>
                    </a:fld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b9a7f0fa-4ee9-4b90-a2f0-eeecb1a7cf9a}" type="VALUE">
                      <a:t>[VALUE]</a:t>
                    </a:fld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-0.0308288259547667"/>
                  <c:y val="-0.0375281954429192"/>
                </c:manualLayout>
              </c:layout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</c:strCache>
            </c:strRef>
          </c:cat>
          <c:val>
            <c:numRef>
              <c:f>Sheet1!$C$2:$C$47</c:f>
              <c:numCache>
                <c:formatCode>0</c:formatCode>
                <c:ptCount val="46"/>
                <c:pt idx="0">
                  <c:v>6</c:v>
                </c:pt>
                <c:pt idx="1">
                  <c:v>34.5</c:v>
                </c:pt>
                <c:pt idx="2">
                  <c:v>34</c:v>
                </c:pt>
                <c:pt idx="3">
                  <c:v>33.5</c:v>
                </c:pt>
                <c:pt idx="4">
                  <c:v>34.2</c:v>
                </c:pt>
                <c:pt idx="5">
                  <c:v>33.1666666666667</c:v>
                </c:pt>
                <c:pt idx="6">
                  <c:v>34.2857142857143</c:v>
                </c:pt>
                <c:pt idx="7">
                  <c:v>34.5</c:v>
                </c:pt>
                <c:pt idx="8">
                  <c:v>34.8888888888889</c:v>
                </c:pt>
                <c:pt idx="9">
                  <c:v>44.5</c:v>
                </c:pt>
                <c:pt idx="10">
                  <c:v>45.4545454545455</c:v>
                </c:pt>
                <c:pt idx="11">
                  <c:v>44.6666666666667</c:v>
                </c:pt>
                <c:pt idx="12">
                  <c:v>43.8461538461538</c:v>
                </c:pt>
                <c:pt idx="13">
                  <c:v>42.8571428571429</c:v>
                </c:pt>
                <c:pt idx="14">
                  <c:v>41.3333333333333</c:v>
                </c:pt>
                <c:pt idx="15">
                  <c:v>40.25</c:v>
                </c:pt>
                <c:pt idx="16">
                  <c:v>38.9411764705882</c:v>
                </c:pt>
                <c:pt idx="17">
                  <c:v>38.6111111111111</c:v>
                </c:pt>
                <c:pt idx="18">
                  <c:v>37.1578947368421</c:v>
                </c:pt>
                <c:pt idx="19">
                  <c:v>36.6</c:v>
                </c:pt>
                <c:pt idx="20">
                  <c:v>36.3333333333333</c:v>
                </c:pt>
                <c:pt idx="21">
                  <c:v>36.1818181818182</c:v>
                </c:pt>
                <c:pt idx="22">
                  <c:v>35.8260869565217</c:v>
                </c:pt>
                <c:pt idx="23">
                  <c:v>35.5833333333333</c:v>
                </c:pt>
                <c:pt idx="24">
                  <c:v>35.36</c:v>
                </c:pt>
                <c:pt idx="25">
                  <c:v>34.6923076923077</c:v>
                </c:pt>
                <c:pt idx="26">
                  <c:v>34.1481481481481</c:v>
                </c:pt>
                <c:pt idx="27">
                  <c:v>33.4642857142857</c:v>
                </c:pt>
                <c:pt idx="28">
                  <c:v>32.9655172413793</c:v>
                </c:pt>
                <c:pt idx="29">
                  <c:v>32.8666666666667</c:v>
                </c:pt>
                <c:pt idx="30">
                  <c:v>32.7096774193548</c:v>
                </c:pt>
                <c:pt idx="31">
                  <c:v>32.53125</c:v>
                </c:pt>
                <c:pt idx="32">
                  <c:v>32.4545454545455</c:v>
                </c:pt>
                <c:pt idx="33">
                  <c:v>32.2058823529412</c:v>
                </c:pt>
                <c:pt idx="34">
                  <c:v>32.1142857142857</c:v>
                </c:pt>
                <c:pt idx="35">
                  <c:v>31.8055555555556</c:v>
                </c:pt>
                <c:pt idx="36">
                  <c:v>31.7027027027027</c:v>
                </c:pt>
                <c:pt idx="37">
                  <c:v>31.3157894736842</c:v>
                </c:pt>
                <c:pt idx="38">
                  <c:v>31.2307692307692</c:v>
                </c:pt>
                <c:pt idx="39">
                  <c:v>30.975</c:v>
                </c:pt>
                <c:pt idx="40">
                  <c:v>30.5609756097561</c:v>
                </c:pt>
                <c:pt idx="41">
                  <c:v>30.452380952381</c:v>
                </c:pt>
                <c:pt idx="42">
                  <c:v>30.3255813953488</c:v>
                </c:pt>
                <c:pt idx="43">
                  <c:v>29.9545454545455</c:v>
                </c:pt>
                <c:pt idx="44">
                  <c:v>29.8444444444444</c:v>
                </c:pt>
                <c:pt idx="45">
                  <c:v>29.717391304347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5967744"/>
        <c:axId val="205969664"/>
      </c:lineChart>
      <c:dateAx>
        <c:axId val="20596774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969664"/>
        <c:crosses val="autoZero"/>
        <c:auto val="0"/>
        <c:lblAlgn val="ctr"/>
        <c:lblOffset val="100"/>
        <c:baseTimeUnit val="days"/>
      </c:dateAx>
      <c:valAx>
        <c:axId val="205969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9677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959595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Average Daily Active Users</a:t>
            </a:r>
            <a:endParaRPr lang="zh-CN" altLang="zh-CN" sz="180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</c:strCache>
            </c:strRef>
          </c:cat>
          <c:val>
            <c:numRef>
              <c:f>Sheet1!$B$2:$B$47</c:f>
              <c:numCache>
                <c:formatCode>General</c:formatCode>
                <c:ptCount val="46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  <c:pt idx="39">
                  <c:v>21</c:v>
                </c:pt>
                <c:pt idx="40">
                  <c:v>14</c:v>
                </c:pt>
                <c:pt idx="41">
                  <c:v>26</c:v>
                </c:pt>
                <c:pt idx="42">
                  <c:v>25</c:v>
                </c:pt>
                <c:pt idx="43">
                  <c:v>14</c:v>
                </c:pt>
                <c:pt idx="44">
                  <c:v>25</c:v>
                </c:pt>
                <c:pt idx="45">
                  <c:v>2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6791040"/>
        <c:axId val="20680704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Active User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18"/>
              <c:layout>
                <c:manualLayout>
                  <c:x val="-0.029407415622343"/>
                  <c:y val="-0.028559853931302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</c:strCache>
            </c:strRef>
          </c:cat>
          <c:val>
            <c:numRef>
              <c:f>Sheet1!$C$2:$C$47</c:f>
              <c:numCache>
                <c:formatCode>General</c:formatCode>
                <c:ptCount val="46"/>
                <c:pt idx="0">
                  <c:v>3</c:v>
                </c:pt>
                <c:pt idx="1">
                  <c:v>9</c:v>
                </c:pt>
                <c:pt idx="2" c:formatCode="0">
                  <c:v>4.71428571428571</c:v>
                </c:pt>
                <c:pt idx="3" c:formatCode="0">
                  <c:v>4.57142857142857</c:v>
                </c:pt>
                <c:pt idx="4" c:formatCode="0">
                  <c:v>5.28571428571429</c:v>
                </c:pt>
                <c:pt idx="5" c:formatCode="0">
                  <c:v>4</c:v>
                </c:pt>
                <c:pt idx="6" c:formatCode="0">
                  <c:v>5.85714285714286</c:v>
                </c:pt>
                <c:pt idx="7" c:formatCode="0">
                  <c:v>5.14285714285714</c:v>
                </c:pt>
                <c:pt idx="8" c:formatCode="0">
                  <c:v>5.42857142857143</c:v>
                </c:pt>
                <c:pt idx="9" c:formatCode="0">
                  <c:v>18.7142857142857</c:v>
                </c:pt>
                <c:pt idx="10" c:formatCode="0">
                  <c:v>7.85714285714286</c:v>
                </c:pt>
                <c:pt idx="11" c:formatCode="0">
                  <c:v>5.14285714285714</c:v>
                </c:pt>
                <c:pt idx="12" c:formatCode="0">
                  <c:v>4.85714285714286</c:v>
                </c:pt>
                <c:pt idx="13" c:formatCode="0">
                  <c:v>4.28571428571429</c:v>
                </c:pt>
                <c:pt idx="14" c:formatCode="0">
                  <c:v>2.85714285714286</c:v>
                </c:pt>
                <c:pt idx="15" c:formatCode="0">
                  <c:v>3.42857142857143</c:v>
                </c:pt>
                <c:pt idx="16" c:formatCode="0">
                  <c:v>2.57142857142857</c:v>
                </c:pt>
                <c:pt idx="17" c:formatCode="0">
                  <c:v>4.71428571428571</c:v>
                </c:pt>
                <c:pt idx="18" c:formatCode="0">
                  <c:v>1.57142857142857</c:v>
                </c:pt>
                <c:pt idx="19" c:formatCode="0">
                  <c:v>3.71428571428571</c:v>
                </c:pt>
                <c:pt idx="20" c:formatCode="0">
                  <c:v>4.42857142857143</c:v>
                </c:pt>
                <c:pt idx="21" c:formatCode="0">
                  <c:v>4.71428571428571</c:v>
                </c:pt>
                <c:pt idx="22" c:formatCode="0">
                  <c:v>4</c:v>
                </c:pt>
                <c:pt idx="23" c:formatCode="0">
                  <c:v>4.28571428571429</c:v>
                </c:pt>
                <c:pt idx="24" c:formatCode="0">
                  <c:v>4.28571428571429</c:v>
                </c:pt>
                <c:pt idx="25" c:formatCode="0">
                  <c:v>2.57142857142857</c:v>
                </c:pt>
                <c:pt idx="26" c:formatCode="0">
                  <c:v>2.85714285714286</c:v>
                </c:pt>
                <c:pt idx="27" c:formatCode="0">
                  <c:v>2.14285714285714</c:v>
                </c:pt>
                <c:pt idx="28" c:formatCode="0">
                  <c:v>2.71428571428571</c:v>
                </c:pt>
                <c:pt idx="29" c:formatCode="0">
                  <c:v>4.28571428571429</c:v>
                </c:pt>
                <c:pt idx="30" c:formatCode="0">
                  <c:v>4</c:v>
                </c:pt>
                <c:pt idx="31" c:formatCode="0">
                  <c:v>3.85714285714286</c:v>
                </c:pt>
                <c:pt idx="32" c:formatCode="0">
                  <c:v>4.28571428571429</c:v>
                </c:pt>
                <c:pt idx="33" c:formatCode="0">
                  <c:v>3.42857142857143</c:v>
                </c:pt>
                <c:pt idx="34" c:formatCode="0">
                  <c:v>4.14285714285714</c:v>
                </c:pt>
                <c:pt idx="35" c:formatCode="0">
                  <c:v>3</c:v>
                </c:pt>
                <c:pt idx="36" c:formatCode="0">
                  <c:v>4</c:v>
                </c:pt>
                <c:pt idx="37" c:formatCode="0">
                  <c:v>2.42857142857143</c:v>
                </c:pt>
                <c:pt idx="38" c:formatCode="0">
                  <c:v>4</c:v>
                </c:pt>
                <c:pt idx="39" c:formatCode="0">
                  <c:v>3</c:v>
                </c:pt>
                <c:pt idx="40" c:formatCode="0">
                  <c:v>2</c:v>
                </c:pt>
                <c:pt idx="41" c:formatCode="0">
                  <c:v>3.71428571428571</c:v>
                </c:pt>
                <c:pt idx="42" c:formatCode="0">
                  <c:v>3.57142857142857</c:v>
                </c:pt>
                <c:pt idx="43" c:formatCode="0">
                  <c:v>2</c:v>
                </c:pt>
                <c:pt idx="44" c:formatCode="0">
                  <c:v>3.57142857142857</c:v>
                </c:pt>
                <c:pt idx="45" c:formatCode="0">
                  <c:v>3.4285714285714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791040"/>
        <c:axId val="206807040"/>
      </c:lineChart>
      <c:dateAx>
        <c:axId val="206791040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07040"/>
        <c:crosses val="autoZero"/>
        <c:auto val="0"/>
        <c:lblAlgn val="ctr"/>
        <c:lblOffset val="100"/>
        <c:baseTimeUnit val="days"/>
      </c:dateAx>
      <c:valAx>
        <c:axId val="2068070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7910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Active User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5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117</c:v>
                </c:pt>
                <c:pt idx="1">
                  <c:v>154</c:v>
                </c:pt>
                <c:pt idx="2">
                  <c:v>265</c:v>
                </c:pt>
                <c:pt idx="3">
                  <c:v>115</c:v>
                </c:pt>
                <c:pt idx="4">
                  <c:v>110</c:v>
                </c:pt>
                <c:pt idx="5">
                  <c:v>124</c:v>
                </c:pt>
                <c:pt idx="6">
                  <c:v>89</c:v>
                </c:pt>
                <c:pt idx="7">
                  <c:v>120</c:v>
                </c:pt>
                <c:pt idx="8">
                  <c:v>106</c:v>
                </c:pt>
                <c:pt idx="9">
                  <c:v>98</c:v>
                </c:pt>
                <c:pt idx="10">
                  <c:v>69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7108352"/>
        <c:axId val="20711872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C$2:$C$12</c:f>
              <c:numCache>
                <c:formatCode>0%</c:formatCode>
                <c:ptCount val="11"/>
                <c:pt idx="0">
                  <c:v>#N/A</c:v>
                </c:pt>
                <c:pt idx="1">
                  <c:v>1.31623931623932</c:v>
                </c:pt>
                <c:pt idx="2" c:formatCode="0.00%">
                  <c:v>0.977859778597786</c:v>
                </c:pt>
                <c:pt idx="3" c:formatCode="0.00%">
                  <c:v>0.21455223880597</c:v>
                </c:pt>
                <c:pt idx="4" c:formatCode="0.00%">
                  <c:v>0.168970814132104</c:v>
                </c:pt>
                <c:pt idx="5" c:formatCode="0.00%">
                  <c:v>0.162943495400788</c:v>
                </c:pt>
                <c:pt idx="6" c:formatCode="0.00%">
                  <c:v>0.100564971751412</c:v>
                </c:pt>
                <c:pt idx="7" c:formatCode="0.00%">
                  <c:v>0.123203285420945</c:v>
                </c:pt>
                <c:pt idx="8" c:formatCode="0.00%">
                  <c:v>0.0968921389396709</c:v>
                </c:pt>
                <c:pt idx="9" c:formatCode="0.00%">
                  <c:v>0.0816666666666667</c:v>
                </c:pt>
                <c:pt idx="10" c:formatCode="0.00%">
                  <c:v>0.0531587057010786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7F7F7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7F7F7F"/>
              </a:solidFill>
              <a:ln w="9525" cap="flat" cmpd="sng" algn="ctr">
                <a:solidFill>
                  <a:srgbClr val="7F7F7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D$2:$D$12</c:f>
              <c:numCache>
                <c:formatCode>0%</c:formatCode>
                <c:ptCount val="11"/>
                <c:pt idx="0">
                  <c:v>#N/A</c:v>
                </c:pt>
                <c:pt idx="1">
                  <c:v>0.316239316239316</c:v>
                </c:pt>
                <c:pt idx="2" c:formatCode="0.00%">
                  <c:v>0.720779220779221</c:v>
                </c:pt>
                <c:pt idx="3" c:formatCode="0.00%">
                  <c:v>-0.566037735849057</c:v>
                </c:pt>
                <c:pt idx="4" c:formatCode="0.00%">
                  <c:v>-0.0434782608695652</c:v>
                </c:pt>
                <c:pt idx="5" c:formatCode="0.00%">
                  <c:v>0.127272727272727</c:v>
                </c:pt>
                <c:pt idx="6" c:formatCode="0.00%">
                  <c:v>-0.282258064516129</c:v>
                </c:pt>
                <c:pt idx="7" c:formatCode="0.00%">
                  <c:v>0.348314606741573</c:v>
                </c:pt>
                <c:pt idx="8" c:formatCode="0.00%">
                  <c:v>-0.116666666666667</c:v>
                </c:pt>
                <c:pt idx="9" c:formatCode="0.00%">
                  <c:v>-0.0754716981132075</c:v>
                </c:pt>
                <c:pt idx="10" c:formatCode="0.00%">
                  <c:v>-0.295918367346939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7253504"/>
        <c:axId val="207120640"/>
      </c:lineChart>
      <c:catAx>
        <c:axId val="2071083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18720"/>
        <c:crosses val="autoZero"/>
        <c:auto val="1"/>
        <c:lblAlgn val="ctr"/>
        <c:lblOffset val="100"/>
        <c:noMultiLvlLbl val="0"/>
      </c:catAx>
      <c:valAx>
        <c:axId val="20711872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08352"/>
        <c:crosses val="autoZero"/>
        <c:crossBetween val="between"/>
      </c:valAx>
      <c:catAx>
        <c:axId val="2072535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20640"/>
        <c:crosses val="autoZero"/>
        <c:auto val="1"/>
        <c:lblAlgn val="ctr"/>
        <c:lblOffset val="100"/>
        <c:noMultiLvlLbl val="0"/>
      </c:catAx>
      <c:valAx>
        <c:axId val="20712064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2535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7F7F7F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0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Journey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15"/>
              <c:layout>
                <c:manualLayout>
                  <c:x val="0"/>
                  <c:y val="0.0102941176470588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6"/>
              <c:layout>
                <c:manualLayout>
                  <c:x val="0"/>
                  <c:y val="0.0132352941176471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7"/>
              <c:layout>
                <c:manualLayout>
                  <c:x val="0.00234659711596439"/>
                  <c:y val="0.0191176470588235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2"/>
              <c:layout>
                <c:manualLayout>
                  <c:x val="0.0015643980773096"/>
                  <c:y val="0.017647058823529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</c:strCache>
            </c:strRef>
          </c:cat>
          <c:val>
            <c:numRef>
              <c:f>Sheet1!$B$2:$B$47</c:f>
              <c:numCache>
                <c:formatCode>General</c:formatCode>
                <c:ptCount val="4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5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4105984"/>
        <c:axId val="20447833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</c:strCache>
            </c:strRef>
          </c:cat>
          <c:val>
            <c:numRef>
              <c:f>Sheet1!$C$2:$C$47</c:f>
              <c:numCache>
                <c:formatCode>0%</c:formatCode>
                <c:ptCount val="46"/>
                <c:pt idx="0">
                  <c:v>#N/A</c:v>
                </c:pt>
                <c:pt idx="1">
                  <c:v>#N/A</c:v>
                </c:pt>
                <c:pt idx="2" c:formatCode="0.00%">
                  <c:v>#N/A</c:v>
                </c:pt>
                <c:pt idx="3" c:formatCode="0.00%">
                  <c:v>0</c:v>
                </c:pt>
                <c:pt idx="4" c:formatCode="0.00%">
                  <c:v>1.64285714285714</c:v>
                </c:pt>
                <c:pt idx="5" c:formatCode="0.00%">
                  <c:v>0.135135135135135</c:v>
                </c:pt>
                <c:pt idx="6" c:formatCode="0.00%">
                  <c:v>0.547619047619048</c:v>
                </c:pt>
                <c:pt idx="7" c:formatCode="0.00%">
                  <c:v>0.153846153846154</c:v>
                </c:pt>
                <c:pt idx="8" c:formatCode="0.00%">
                  <c:v>0.12</c:v>
                </c:pt>
                <c:pt idx="9" c:formatCode="0.00%">
                  <c:v>0.761904761904762</c:v>
                </c:pt>
                <c:pt idx="10" c:formatCode="0.00%">
                  <c:v>0.25</c:v>
                </c:pt>
                <c:pt idx="11" c:formatCode="0.00%">
                  <c:v>0.0648648648648649</c:v>
                </c:pt>
                <c:pt idx="12" c:formatCode="0.00%">
                  <c:v>0.0812182741116751</c:v>
                </c:pt>
                <c:pt idx="13" c:formatCode="0.00%">
                  <c:v>0.0328638497652582</c:v>
                </c:pt>
                <c:pt idx="14" c:formatCode="0.00%">
                  <c:v>0.0318181818181818</c:v>
                </c:pt>
                <c:pt idx="15" c:formatCode="0.00%">
                  <c:v>0.013215859030837</c:v>
                </c:pt>
                <c:pt idx="16" c:formatCode="0.00%">
                  <c:v>0.0130434782608696</c:v>
                </c:pt>
                <c:pt idx="17" c:formatCode="0.00%">
                  <c:v>0.00858369098712446</c:v>
                </c:pt>
                <c:pt idx="18" c:formatCode="0.00%">
                  <c:v>0.0170212765957447</c:v>
                </c:pt>
                <c:pt idx="19" c:formatCode="0.00%">
                  <c:v>0.0167364016736402</c:v>
                </c:pt>
                <c:pt idx="20" c:formatCode="0.00%">
                  <c:v>0.0452674897119342</c:v>
                </c:pt>
                <c:pt idx="21" c:formatCode="0.00%">
                  <c:v>0.0354330708661417</c:v>
                </c:pt>
                <c:pt idx="22" c:formatCode="0.00%">
                  <c:v>0.00760456273764259</c:v>
                </c:pt>
                <c:pt idx="23" c:formatCode="0.00%">
                  <c:v>0</c:v>
                </c:pt>
                <c:pt idx="24" c:formatCode="0.00%">
                  <c:v>0.030188679245283</c:v>
                </c:pt>
                <c:pt idx="25" c:formatCode="0.00%">
                  <c:v>0.032967032967033</c:v>
                </c:pt>
                <c:pt idx="26" c:formatCode="0.00%">
                  <c:v>0.00709219858156028</c:v>
                </c:pt>
                <c:pt idx="27" c:formatCode="0.00%">
                  <c:v>0</c:v>
                </c:pt>
                <c:pt idx="28" c:formatCode="0.00%">
                  <c:v>0.0457746478873239</c:v>
                </c:pt>
                <c:pt idx="29" c:formatCode="0.00%">
                  <c:v>0.037037037037037</c:v>
                </c:pt>
                <c:pt idx="30" c:formatCode="0.00%">
                  <c:v>0.012987012987013</c:v>
                </c:pt>
                <c:pt idx="31" c:formatCode="0.00%">
                  <c:v>0.0224358974358974</c:v>
                </c:pt>
                <c:pt idx="32" c:formatCode="0.00%">
                  <c:v>0.0250783699059561</c:v>
                </c:pt>
                <c:pt idx="33" c:formatCode="0.00%">
                  <c:v>0.0152905198776758</c:v>
                </c:pt>
                <c:pt idx="34" c:formatCode="0.00%">
                  <c:v>0.0180722891566265</c:v>
                </c:pt>
                <c:pt idx="35" c:formatCode="0.00%">
                  <c:v>0</c:v>
                </c:pt>
                <c:pt idx="36" c:formatCode="0.00%">
                  <c:v>0.00887573964497041</c:v>
                </c:pt>
                <c:pt idx="37" c:formatCode="0.00%">
                  <c:v>0</c:v>
                </c:pt>
                <c:pt idx="38" c:formatCode="0.00%">
                  <c:v>0.00293255131964809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.0146198830409357</c:v>
                </c:pt>
                <c:pt idx="42" c:formatCode="0.00%">
                  <c:v>0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</c:strCache>
            </c:strRef>
          </c:cat>
          <c:val>
            <c:numRef>
              <c:f>Sheet1!$D$2:$D$47</c:f>
              <c:numCache>
                <c:formatCode>0%</c:formatCode>
                <c:ptCount val="46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#N/A</c:v>
                </c:pt>
                <c:pt idx="3" c:formatCode="0.00%">
                  <c:v>0</c:v>
                </c:pt>
                <c:pt idx="4" c:formatCode="0.00%">
                  <c:v>0.642857142857143</c:v>
                </c:pt>
                <c:pt idx="5" c:formatCode="0.00%">
                  <c:v>-0.782608695652174</c:v>
                </c:pt>
                <c:pt idx="6" c:formatCode="0.00%">
                  <c:v>3.6</c:v>
                </c:pt>
                <c:pt idx="7" c:formatCode="0.00%">
                  <c:v>-0.565217391304348</c:v>
                </c:pt>
                <c:pt idx="8" c:formatCode="0.00%">
                  <c:v>-0.1</c:v>
                </c:pt>
                <c:pt idx="9" c:formatCode="0.00%">
                  <c:v>6.11111111111111</c:v>
                </c:pt>
                <c:pt idx="10" c:formatCode="0.00%">
                  <c:v>-0.421875</c:v>
                </c:pt>
                <c:pt idx="11" c:formatCode="0.00%">
                  <c:v>-0.675675675675676</c:v>
                </c:pt>
                <c:pt idx="12" c:formatCode="0.00%">
                  <c:v>0.333333333333333</c:v>
                </c:pt>
                <c:pt idx="13" c:formatCode="0.00%">
                  <c:v>-0.5625</c:v>
                </c:pt>
                <c:pt idx="14" c:formatCode="0.00%">
                  <c:v>0</c:v>
                </c:pt>
                <c:pt idx="15" c:formatCode="0.00%">
                  <c:v>-0.571428571428571</c:v>
                </c:pt>
                <c:pt idx="16" c:formatCode="0.00%">
                  <c:v>0</c:v>
                </c:pt>
                <c:pt idx="17" c:formatCode="0.00%">
                  <c:v>-0.333333333333333</c:v>
                </c:pt>
                <c:pt idx="18" c:formatCode="0.00%">
                  <c:v>1</c:v>
                </c:pt>
                <c:pt idx="19" c:formatCode="0.00%">
                  <c:v>0</c:v>
                </c:pt>
                <c:pt idx="20" c:formatCode="0.00%">
                  <c:v>1.75</c:v>
                </c:pt>
                <c:pt idx="21" c:formatCode="0.00%">
                  <c:v>-0.181818181818182</c:v>
                </c:pt>
                <c:pt idx="22" c:formatCode="0.00%">
                  <c:v>-0.777777777777778</c:v>
                </c:pt>
                <c:pt idx="23" c:formatCode="0.00%">
                  <c:v>-1</c:v>
                </c:pt>
                <c:pt idx="24" c:formatCode="0.00%">
                  <c:v>0</c:v>
                </c:pt>
                <c:pt idx="25" c:formatCode="0.00%">
                  <c:v>0.125</c:v>
                </c:pt>
                <c:pt idx="26" c:formatCode="0.00%">
                  <c:v>-0.777777777777778</c:v>
                </c:pt>
                <c:pt idx="27" c:formatCode="0.00%">
                  <c:v>-1</c:v>
                </c:pt>
                <c:pt idx="28" c:formatCode="0.00%">
                  <c:v>0</c:v>
                </c:pt>
                <c:pt idx="29" c:formatCode="0.00%">
                  <c:v>-0.153846153846154</c:v>
                </c:pt>
                <c:pt idx="30" c:formatCode="0.00%">
                  <c:v>-0.636363636363636</c:v>
                </c:pt>
                <c:pt idx="31" c:formatCode="0.00%">
                  <c:v>0.75</c:v>
                </c:pt>
                <c:pt idx="32" c:formatCode="0.00%">
                  <c:v>0.142857142857143</c:v>
                </c:pt>
                <c:pt idx="33" c:formatCode="0.00%">
                  <c:v>-0.375</c:v>
                </c:pt>
                <c:pt idx="34" c:formatCode="0.00%">
                  <c:v>0.2</c:v>
                </c:pt>
                <c:pt idx="35" c:formatCode="0.00%">
                  <c:v>-1</c:v>
                </c:pt>
                <c:pt idx="36" c:formatCode="0.00%">
                  <c:v>0</c:v>
                </c:pt>
                <c:pt idx="37" c:formatCode="0.00%">
                  <c:v>-1</c:v>
                </c:pt>
                <c:pt idx="38" c:formatCode="0.00%">
                  <c:v>0</c:v>
                </c:pt>
                <c:pt idx="39" c:formatCode="0.00%">
                  <c:v>-1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-1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4495104"/>
        <c:axId val="204492800"/>
      </c:lineChart>
      <c:catAx>
        <c:axId val="20410598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cap="none" baseline="0" dirty="0"/>
                  <a:t>Calendar weeks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478336"/>
        <c:crosses val="autoZero"/>
        <c:auto val="1"/>
        <c:lblAlgn val="ctr"/>
        <c:lblOffset val="100"/>
        <c:noMultiLvlLbl val="0"/>
      </c:catAx>
      <c:valAx>
        <c:axId val="20447833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105984"/>
        <c:crosses val="autoZero"/>
        <c:crossBetween val="between"/>
      </c:valAx>
      <c:catAx>
        <c:axId val="2044951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492800"/>
        <c:crosses val="autoZero"/>
        <c:auto val="1"/>
        <c:lblAlgn val="ctr"/>
        <c:lblOffset val="100"/>
        <c:noMultiLvlLbl val="0"/>
      </c:catAx>
      <c:valAx>
        <c:axId val="20449280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4951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dirty="0">
                <a:latin typeface="+mj-lt"/>
              </a:rPr>
              <a:t>Average</a:t>
            </a:r>
            <a:r>
              <a:rPr lang="en-US" altLang="zh-CN" sz="1800" baseline="0" dirty="0">
                <a:latin typeface="+mj-lt"/>
              </a:rPr>
              <a:t> </a:t>
            </a:r>
            <a:r>
              <a:rPr lang="en-US" altLang="zh-CN" sz="1800" dirty="0">
                <a:latin typeface="+mj-lt"/>
              </a:rPr>
              <a:t>Weekly </a:t>
            </a:r>
            <a:r>
              <a:rPr lang="en-US" altLang="zh-CN" sz="1800" b="0" i="0" u="none" strike="noStrike" baseline="0" dirty="0">
                <a:effectLst/>
              </a:rPr>
              <a:t>Journeys</a:t>
            </a:r>
            <a:endParaRPr lang="en-US" sz="1800" dirty="0">
              <a:latin typeface="+mj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5313297105467"/>
          <c:y val="0.153188691087527"/>
          <c:w val="0.848865106650401"/>
          <c:h val="0.58429076800182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</c:strCache>
            </c:strRef>
          </c:cat>
          <c:val>
            <c:numRef>
              <c:f>Sheet1!$B$2:$B$47</c:f>
              <c:numCache>
                <c:formatCode>General</c:formatCode>
                <c:ptCount val="4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5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07103872"/>
        <c:axId val="20730201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Journey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10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2668b82f-4365-4b25-943b-e2156ae8dfb2}" type="VALUE">
                      <a:t>[VALUE]</a:t>
                    </a:fld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</c:strCache>
            </c:strRef>
          </c:cat>
          <c:val>
            <c:numRef>
              <c:f>Sheet1!$C$2:$C$47</c:f>
              <c:numCache>
                <c:formatCode>0</c:formatCode>
                <c:ptCount val="4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3.5</c:v>
                </c:pt>
                <c:pt idx="4">
                  <c:v>7.4</c:v>
                </c:pt>
                <c:pt idx="5">
                  <c:v>7</c:v>
                </c:pt>
                <c:pt idx="6">
                  <c:v>9.28571428571429</c:v>
                </c:pt>
                <c:pt idx="7">
                  <c:v>9.375</c:v>
                </c:pt>
                <c:pt idx="8">
                  <c:v>9.33333333333333</c:v>
                </c:pt>
                <c:pt idx="9">
                  <c:v>14.8</c:v>
                </c:pt>
                <c:pt idx="10">
                  <c:v>16.8181818181818</c:v>
                </c:pt>
                <c:pt idx="11">
                  <c:v>16.4166666666667</c:v>
                </c:pt>
                <c:pt idx="12">
                  <c:v>16.3846153846154</c:v>
                </c:pt>
                <c:pt idx="13">
                  <c:v>15.7142857142857</c:v>
                </c:pt>
                <c:pt idx="14">
                  <c:v>15.1333333333333</c:v>
                </c:pt>
                <c:pt idx="15">
                  <c:v>14.375</c:v>
                </c:pt>
                <c:pt idx="16">
                  <c:v>13.7058823529412</c:v>
                </c:pt>
                <c:pt idx="17">
                  <c:v>13.0555555555556</c:v>
                </c:pt>
                <c:pt idx="18">
                  <c:v>12.5789473684211</c:v>
                </c:pt>
                <c:pt idx="19">
                  <c:v>12.15</c:v>
                </c:pt>
                <c:pt idx="20">
                  <c:v>12.0952380952381</c:v>
                </c:pt>
                <c:pt idx="21">
                  <c:v>11.9545454545455</c:v>
                </c:pt>
                <c:pt idx="22">
                  <c:v>11.5217391304348</c:v>
                </c:pt>
                <c:pt idx="23">
                  <c:v>11.0416666666667</c:v>
                </c:pt>
                <c:pt idx="24">
                  <c:v>10.92</c:v>
                </c:pt>
                <c:pt idx="25">
                  <c:v>10.8461538461538</c:v>
                </c:pt>
                <c:pt idx="26">
                  <c:v>10.5185185185185</c:v>
                </c:pt>
                <c:pt idx="27">
                  <c:v>10.1428571428571</c:v>
                </c:pt>
                <c:pt idx="28">
                  <c:v>10.2413793103448</c:v>
                </c:pt>
                <c:pt idx="29">
                  <c:v>10.2666666666667</c:v>
                </c:pt>
                <c:pt idx="30">
                  <c:v>10.0645161290323</c:v>
                </c:pt>
                <c:pt idx="31">
                  <c:v>9.96875</c:v>
                </c:pt>
                <c:pt idx="32">
                  <c:v>9.90909090909091</c:v>
                </c:pt>
                <c:pt idx="33">
                  <c:v>9.76470588235294</c:v>
                </c:pt>
                <c:pt idx="34">
                  <c:v>9.65714285714286</c:v>
                </c:pt>
                <c:pt idx="35">
                  <c:v>9.38888888888889</c:v>
                </c:pt>
                <c:pt idx="36">
                  <c:v>9.21621621621622</c:v>
                </c:pt>
                <c:pt idx="37">
                  <c:v>8.97368421052632</c:v>
                </c:pt>
                <c:pt idx="38">
                  <c:v>8.76923076923077</c:v>
                </c:pt>
                <c:pt idx="39">
                  <c:v>8.55</c:v>
                </c:pt>
                <c:pt idx="40">
                  <c:v>8.34146341463415</c:v>
                </c:pt>
                <c:pt idx="41">
                  <c:v>8.26190476190476</c:v>
                </c:pt>
                <c:pt idx="42">
                  <c:v>8.06976744186047</c:v>
                </c:pt>
                <c:pt idx="43">
                  <c:v>7.88636363636364</c:v>
                </c:pt>
                <c:pt idx="44">
                  <c:v>7.71111111111111</c:v>
                </c:pt>
                <c:pt idx="45">
                  <c:v>7.5434782608695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103872"/>
        <c:axId val="207302016"/>
      </c:lineChart>
      <c:dateAx>
        <c:axId val="207103872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302016"/>
        <c:crosses val="autoZero"/>
        <c:auto val="0"/>
        <c:lblAlgn val="ctr"/>
        <c:lblOffset val="100"/>
        <c:baseTimeUnit val="days"/>
      </c:dateAx>
      <c:valAx>
        <c:axId val="2073020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038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Average Daily Journeys</a:t>
            </a:r>
            <a:endParaRPr lang="zh-CN" altLang="zh-CN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37779342723005"/>
          <c:y val="0.183423913043478"/>
          <c:w val="0.82263490748412"/>
          <c:h val="0.53440217391304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</c:strCache>
            </c:strRef>
          </c:cat>
          <c:val>
            <c:numRef>
              <c:f>Sheet1!$B$2:$B$47</c:f>
              <c:numCache>
                <c:formatCode>General</c:formatCode>
                <c:ptCount val="4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5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6823808"/>
        <c:axId val="20682649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Journey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15"/>
              <c:delete val="1"/>
            </c:dLbl>
            <c:dLbl>
              <c:idx val="16"/>
              <c:delete val="1"/>
            </c:dLbl>
            <c:dLbl>
              <c:idx val="17"/>
              <c:delete val="1"/>
            </c:dLbl>
            <c:dLbl>
              <c:idx val="22"/>
              <c:delete val="1"/>
            </c:dLbl>
            <c:dLbl>
              <c:idx val="23"/>
              <c:delete val="1"/>
            </c:dLbl>
            <c:dLbl>
              <c:idx val="26"/>
              <c:delete val="1"/>
            </c:dLbl>
            <c:dLbl>
              <c:idx val="27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</c:strCache>
            </c:strRef>
          </c:cat>
          <c:val>
            <c:numRef>
              <c:f>Sheet1!$C$2:$C$47</c:f>
              <c:numCache>
                <c:formatCode>General</c:formatCode>
                <c:ptCount val="46"/>
                <c:pt idx="0">
                  <c:v>0</c:v>
                </c:pt>
                <c:pt idx="1">
                  <c:v>0</c:v>
                </c:pt>
                <c:pt idx="2" c:formatCode="0">
                  <c:v>0</c:v>
                </c:pt>
                <c:pt idx="3" c:formatCode="0">
                  <c:v>2</c:v>
                </c:pt>
                <c:pt idx="4" c:formatCode="0">
                  <c:v>3.28571428571429</c:v>
                </c:pt>
                <c:pt idx="5" c:formatCode="0">
                  <c:v>0.714285714285714</c:v>
                </c:pt>
                <c:pt idx="6" c:formatCode="0">
                  <c:v>3.28571428571429</c:v>
                </c:pt>
                <c:pt idx="7" c:formatCode="0">
                  <c:v>1.42857142857143</c:v>
                </c:pt>
                <c:pt idx="8" c:formatCode="0">
                  <c:v>1.28571428571429</c:v>
                </c:pt>
                <c:pt idx="9" c:formatCode="0">
                  <c:v>9.14285714285714</c:v>
                </c:pt>
                <c:pt idx="10" c:formatCode="0">
                  <c:v>5.28571428571429</c:v>
                </c:pt>
                <c:pt idx="11" c:formatCode="0">
                  <c:v>1.71428571428571</c:v>
                </c:pt>
                <c:pt idx="12" c:formatCode="0">
                  <c:v>2.28571428571429</c:v>
                </c:pt>
                <c:pt idx="13" c:formatCode="0">
                  <c:v>1</c:v>
                </c:pt>
                <c:pt idx="14" c:formatCode="0">
                  <c:v>1</c:v>
                </c:pt>
                <c:pt idx="15" c:formatCode="0">
                  <c:v>0.428571428571429</c:v>
                </c:pt>
                <c:pt idx="16" c:formatCode="0">
                  <c:v>0.428571428571429</c:v>
                </c:pt>
                <c:pt idx="17" c:formatCode="0">
                  <c:v>0.285714285714286</c:v>
                </c:pt>
                <c:pt idx="18" c:formatCode="0">
                  <c:v>0.571428571428571</c:v>
                </c:pt>
                <c:pt idx="19" c:formatCode="0">
                  <c:v>0.571428571428571</c:v>
                </c:pt>
                <c:pt idx="20" c:formatCode="0">
                  <c:v>1.57142857142857</c:v>
                </c:pt>
                <c:pt idx="21" c:formatCode="0">
                  <c:v>1.28571428571429</c:v>
                </c:pt>
                <c:pt idx="22" c:formatCode="0">
                  <c:v>0.285714285714286</c:v>
                </c:pt>
                <c:pt idx="23" c:formatCode="0">
                  <c:v>0</c:v>
                </c:pt>
                <c:pt idx="24" c:formatCode="0">
                  <c:v>1.14285714285714</c:v>
                </c:pt>
                <c:pt idx="25" c:formatCode="0">
                  <c:v>1.28571428571429</c:v>
                </c:pt>
                <c:pt idx="26" c:formatCode="0">
                  <c:v>0.285714285714286</c:v>
                </c:pt>
                <c:pt idx="27" c:formatCode="0">
                  <c:v>0</c:v>
                </c:pt>
                <c:pt idx="28" c:formatCode="0">
                  <c:v>1.85714285714286</c:v>
                </c:pt>
                <c:pt idx="29" c:formatCode="0">
                  <c:v>1.57142857142857</c:v>
                </c:pt>
                <c:pt idx="30" c:formatCode="0">
                  <c:v>0.571428571428571</c:v>
                </c:pt>
                <c:pt idx="31" c:formatCode="0">
                  <c:v>1</c:v>
                </c:pt>
                <c:pt idx="32" c:formatCode="0">
                  <c:v>1.14285714285714</c:v>
                </c:pt>
                <c:pt idx="33" c:formatCode="0">
                  <c:v>0.714285714285714</c:v>
                </c:pt>
                <c:pt idx="34" c:formatCode="0">
                  <c:v>0.857142857142857</c:v>
                </c:pt>
                <c:pt idx="35" c:formatCode="0">
                  <c:v>0</c:v>
                </c:pt>
                <c:pt idx="36" c:formatCode="0">
                  <c:v>0.428571428571429</c:v>
                </c:pt>
                <c:pt idx="37" c:formatCode="0">
                  <c:v>0</c:v>
                </c:pt>
                <c:pt idx="38" c:formatCode="0">
                  <c:v>0.142857142857143</c:v>
                </c:pt>
                <c:pt idx="39" c:formatCode="0">
                  <c:v>0</c:v>
                </c:pt>
                <c:pt idx="40" c:formatCode="0">
                  <c:v>0</c:v>
                </c:pt>
                <c:pt idx="41" c:formatCode="0">
                  <c:v>0.714285714285714</c:v>
                </c:pt>
                <c:pt idx="42" c:formatCode="0">
                  <c:v>0</c:v>
                </c:pt>
                <c:pt idx="43" c:formatCode="0">
                  <c:v>0</c:v>
                </c:pt>
                <c:pt idx="44" c:formatCode="0">
                  <c:v>0</c:v>
                </c:pt>
                <c:pt idx="45" c:formatCode="0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823808"/>
        <c:axId val="206826496"/>
      </c:lineChart>
      <c:dateAx>
        <c:axId val="20682380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26496"/>
        <c:crosses val="autoZero"/>
        <c:auto val="0"/>
        <c:lblAlgn val="ctr"/>
        <c:lblOffset val="100"/>
        <c:baseTimeUnit val="days"/>
      </c:dateAx>
      <c:valAx>
        <c:axId val="206826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23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Journey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 Journeys</c:v>
                </c:pt>
              </c:strCache>
            </c:strRef>
          </c:tx>
          <c:spPr>
            <a:solidFill>
              <a:srgbClr val="C00000">
                <a:alpha val="99000"/>
              </a:srgbClr>
            </a:solidFill>
            <a:ln>
              <a:solidFill>
                <a:srgbClr val="C00000"/>
              </a:solidFill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11</c:v>
                </c:pt>
                <c:pt idx="1">
                  <c:v>60</c:v>
                </c:pt>
                <c:pt idx="2">
                  <c:v>126</c:v>
                </c:pt>
                <c:pt idx="3">
                  <c:v>33</c:v>
                </c:pt>
                <c:pt idx="4">
                  <c:v>23</c:v>
                </c:pt>
                <c:pt idx="5">
                  <c:v>20</c:v>
                </c:pt>
                <c:pt idx="6">
                  <c:v>25</c:v>
                </c:pt>
                <c:pt idx="7">
                  <c:v>34</c:v>
                </c:pt>
                <c:pt idx="8">
                  <c:v>10</c:v>
                </c:pt>
                <c:pt idx="9">
                  <c:v>5</c:v>
                </c:pt>
                <c:pt idx="10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9740160"/>
        <c:axId val="20974208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C$2:$C$12</c:f>
              <c:numCache>
                <c:formatCode>0%</c:formatCode>
                <c:ptCount val="11"/>
                <c:pt idx="0">
                  <c:v>#N/A</c:v>
                </c:pt>
                <c:pt idx="1">
                  <c:v>5.45454545454545</c:v>
                </c:pt>
                <c:pt idx="2" c:formatCode="0.00%">
                  <c:v>1.77464788732394</c:v>
                </c:pt>
                <c:pt idx="3" c:formatCode="0.00%">
                  <c:v>0.16751269035533</c:v>
                </c:pt>
                <c:pt idx="4" c:formatCode="0.00%">
                  <c:v>0.1</c:v>
                </c:pt>
                <c:pt idx="5" c:formatCode="0.00%">
                  <c:v>0.0790513833992095</c:v>
                </c:pt>
                <c:pt idx="6" c:formatCode="0.00%">
                  <c:v>0.0915750915750916</c:v>
                </c:pt>
                <c:pt idx="7" c:formatCode="0.00%">
                  <c:v>0.114093959731544</c:v>
                </c:pt>
                <c:pt idx="8" c:formatCode="0.00%">
                  <c:v>0.0301204819277108</c:v>
                </c:pt>
                <c:pt idx="9" c:formatCode="0.00%">
                  <c:v>0.0146198830409357</c:v>
                </c:pt>
                <c:pt idx="10" c:formatCode="0.00%">
                  <c:v>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D$2:$D$12</c:f>
              <c:numCache>
                <c:formatCode>0%</c:formatCode>
                <c:ptCount val="11"/>
                <c:pt idx="0">
                  <c:v>#N/A</c:v>
                </c:pt>
                <c:pt idx="1">
                  <c:v>4.45454545454545</c:v>
                </c:pt>
                <c:pt idx="2" c:formatCode="0.00%">
                  <c:v>1.1</c:v>
                </c:pt>
                <c:pt idx="3" c:formatCode="0.00%">
                  <c:v>-0.738095238095238</c:v>
                </c:pt>
                <c:pt idx="4" c:formatCode="0.00%">
                  <c:v>-0.303030303030303</c:v>
                </c:pt>
                <c:pt idx="5" c:formatCode="0.00%">
                  <c:v>-0.130434782608696</c:v>
                </c:pt>
                <c:pt idx="6" c:formatCode="0.00%">
                  <c:v>0.25</c:v>
                </c:pt>
                <c:pt idx="7" c:formatCode="0.00%">
                  <c:v>0.36</c:v>
                </c:pt>
                <c:pt idx="8" c:formatCode="0.00%">
                  <c:v>-0.705882352941177</c:v>
                </c:pt>
                <c:pt idx="9" c:formatCode="0.00%">
                  <c:v>-0.5</c:v>
                </c:pt>
                <c:pt idx="10" c:formatCode="0.00%">
                  <c:v>-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9762176"/>
        <c:axId val="209760640"/>
      </c:lineChart>
      <c:catAx>
        <c:axId val="20974016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42080"/>
        <c:crosses val="autoZero"/>
        <c:auto val="1"/>
        <c:lblAlgn val="ctr"/>
        <c:lblOffset val="100"/>
        <c:noMultiLvlLbl val="0"/>
      </c:catAx>
      <c:valAx>
        <c:axId val="2097420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40160"/>
        <c:crosses val="autoZero"/>
        <c:crossBetween val="between"/>
      </c:valAx>
      <c:catAx>
        <c:axId val="2097621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60640"/>
        <c:crosses val="autoZero"/>
        <c:auto val="1"/>
        <c:lblAlgn val="ctr"/>
        <c:lblOffset val="100"/>
        <c:noMultiLvlLbl val="0"/>
      </c:catAx>
      <c:valAx>
        <c:axId val="20976064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6217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Running Time-</a:t>
            </a:r>
            <a:r>
              <a:rPr lang="en-US" altLang="zh-CN" sz="1800" dirty="0"/>
              <a:t>CW 08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00239377618192701"/>
                  <c:y val="0.11575656485557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65:$A$71</c:f>
              <c:numCache>
                <c:formatCode>m/d;@</c:formatCode>
                <c:ptCount val="7"/>
                <c:pt idx="0" c:formatCode="m/d;@">
                  <c:v>43878</c:v>
                </c:pt>
                <c:pt idx="1" c:formatCode="m/d;@">
                  <c:v>43879</c:v>
                </c:pt>
                <c:pt idx="2" c:formatCode="m/d;@">
                  <c:v>43880</c:v>
                </c:pt>
                <c:pt idx="3" c:formatCode="m/d;@">
                  <c:v>43881</c:v>
                </c:pt>
                <c:pt idx="4" c:formatCode="m/d;@">
                  <c:v>43882</c:v>
                </c:pt>
                <c:pt idx="5" c:formatCode="m/d;@">
                  <c:v>43883</c:v>
                </c:pt>
                <c:pt idx="6" c:formatCode="m/d;@">
                  <c:v>43884</c:v>
                </c:pt>
              </c:numCache>
            </c:numRef>
          </c:cat>
          <c:val>
            <c:numRef>
              <c:f>Sheet1!$B$65:$B$71</c:f>
              <c:numCache>
                <c:formatCode>General</c:formatCode>
                <c:ptCount val="7"/>
                <c:pt idx="0">
                  <c:v>0.5</c:v>
                </c:pt>
                <c:pt idx="1">
                  <c:v>0.6</c:v>
                </c:pt>
                <c:pt idx="2">
                  <c:v>1.1</c:v>
                </c:pt>
                <c:pt idx="3">
                  <c:v>0</c:v>
                </c:pt>
                <c:pt idx="4">
                  <c:v>0.7</c:v>
                </c:pt>
                <c:pt idx="5">
                  <c:v>0.9</c:v>
                </c:pt>
                <c:pt idx="6">
                  <c:v>1.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815488"/>
        <c:axId val="21481740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65:$A$71</c:f>
              <c:numCache>
                <c:formatCode>m/d;@</c:formatCode>
                <c:ptCount val="7"/>
                <c:pt idx="0" c:formatCode="m/d;@">
                  <c:v>43878</c:v>
                </c:pt>
                <c:pt idx="1" c:formatCode="m/d;@">
                  <c:v>43879</c:v>
                </c:pt>
                <c:pt idx="2" c:formatCode="m/d;@">
                  <c:v>43880</c:v>
                </c:pt>
                <c:pt idx="3" c:formatCode="m/d;@">
                  <c:v>43881</c:v>
                </c:pt>
                <c:pt idx="4" c:formatCode="m/d;@">
                  <c:v>43882</c:v>
                </c:pt>
                <c:pt idx="5" c:formatCode="m/d;@">
                  <c:v>43883</c:v>
                </c:pt>
                <c:pt idx="6" c:formatCode="m/d;@">
                  <c:v>43884</c:v>
                </c:pt>
              </c:numCache>
            </c:numRef>
          </c:cat>
          <c:val>
            <c:numRef>
              <c:f>Sheet1!$C$65:$C$71</c:f>
              <c:numCache>
                <c:formatCode>0%</c:formatCode>
                <c:ptCount val="7"/>
                <c:pt idx="0">
                  <c:v>0</c:v>
                </c:pt>
                <c:pt idx="1">
                  <c:v>0.2</c:v>
                </c:pt>
                <c:pt idx="2">
                  <c:v>0.833333333333334</c:v>
                </c:pt>
                <c:pt idx="3">
                  <c:v>-1</c:v>
                </c:pt>
                <c:pt idx="4">
                  <c:v>0</c:v>
                </c:pt>
                <c:pt idx="5">
                  <c:v>0.285714285714286</c:v>
                </c:pt>
                <c:pt idx="6">
                  <c:v>0.55555555555555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4915328"/>
        <c:axId val="214913792"/>
      </c:lineChart>
      <c:dateAx>
        <c:axId val="21481548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7408"/>
        <c:crosses val="autoZero"/>
        <c:auto val="1"/>
        <c:lblOffset val="100"/>
        <c:baseTimeUnit val="days"/>
      </c:dateAx>
      <c:valAx>
        <c:axId val="2148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5488"/>
        <c:crosses val="autoZero"/>
        <c:crossBetween val="between"/>
      </c:valAx>
      <c:dateAx>
        <c:axId val="21491532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3792"/>
        <c:crosses val="autoZero"/>
        <c:auto val="1"/>
        <c:lblOffset val="100"/>
        <c:baseTimeUnit val="days"/>
      </c:dateAx>
      <c:valAx>
        <c:axId val="21491379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5328"/>
        <c:crosses val="max"/>
        <c:crossBetween val="between"/>
      </c:valAx>
      <c:spPr>
        <a:noFill/>
        <a:ln w="25400"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Running Time-</a:t>
            </a:r>
            <a:r>
              <a:rPr lang="en-US" altLang="zh-CN" sz="1800" dirty="0"/>
              <a:t>CW 07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00239377618192701"/>
                  <c:y val="0.11575656485557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8:$A$64</c:f>
              <c:numCache>
                <c:formatCode>m/d;@</c:formatCode>
                <c:ptCount val="7"/>
                <c:pt idx="0" c:formatCode="m/d;@">
                  <c:v>43871</c:v>
                </c:pt>
                <c:pt idx="1" c:formatCode="m/d;@">
                  <c:v>43872</c:v>
                </c:pt>
                <c:pt idx="2" c:formatCode="m/d;@">
                  <c:v>43873</c:v>
                </c:pt>
                <c:pt idx="3" c:formatCode="m/d;@">
                  <c:v>43874</c:v>
                </c:pt>
                <c:pt idx="4" c:formatCode="m/d;@">
                  <c:v>43875</c:v>
                </c:pt>
                <c:pt idx="5" c:formatCode="m/d;@">
                  <c:v>43876</c:v>
                </c:pt>
                <c:pt idx="6" c:formatCode="m/d;@">
                  <c:v>43877</c:v>
                </c:pt>
              </c:numCache>
            </c:numRef>
          </c:cat>
          <c:val>
            <c:numRef>
              <c:f>Sheet1!$B$58:$B$64</c:f>
              <c:numCache>
                <c:formatCode>General</c:formatCode>
                <c:ptCount val="7"/>
                <c:pt idx="0">
                  <c:v>1</c:v>
                </c:pt>
                <c:pt idx="1">
                  <c:v>0</c:v>
                </c:pt>
                <c:pt idx="2">
                  <c:v>0.5</c:v>
                </c:pt>
                <c:pt idx="3">
                  <c:v>0.4</c:v>
                </c:pt>
                <c:pt idx="4">
                  <c:v>0.8</c:v>
                </c:pt>
                <c:pt idx="5">
                  <c:v>0.5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815488"/>
        <c:axId val="21481740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8:$A$64</c:f>
              <c:numCache>
                <c:formatCode>m/d;@</c:formatCode>
                <c:ptCount val="7"/>
                <c:pt idx="0" c:formatCode="m/d;@">
                  <c:v>43871</c:v>
                </c:pt>
                <c:pt idx="1" c:formatCode="m/d;@">
                  <c:v>43872</c:v>
                </c:pt>
                <c:pt idx="2" c:formatCode="m/d;@">
                  <c:v>43873</c:v>
                </c:pt>
                <c:pt idx="3" c:formatCode="m/d;@">
                  <c:v>43874</c:v>
                </c:pt>
                <c:pt idx="4" c:formatCode="m/d;@">
                  <c:v>43875</c:v>
                </c:pt>
                <c:pt idx="5" c:formatCode="m/d;@">
                  <c:v>43876</c:v>
                </c:pt>
                <c:pt idx="6" c:formatCode="m/d;@">
                  <c:v>43877</c:v>
                </c:pt>
              </c:numCache>
            </c:numRef>
          </c:cat>
          <c:val>
            <c:numRef>
              <c:f>Sheet1!$C$58:$C$64</c:f>
              <c:numCache>
                <c:formatCode>0%</c:formatCode>
                <c:ptCount val="7"/>
                <c:pt idx="0">
                  <c:v>4</c:v>
                </c:pt>
                <c:pt idx="1">
                  <c:v>-1</c:v>
                </c:pt>
                <c:pt idx="2">
                  <c:v>0</c:v>
                </c:pt>
                <c:pt idx="3">
                  <c:v>-0.2</c:v>
                </c:pt>
                <c:pt idx="4">
                  <c:v>1</c:v>
                </c:pt>
                <c:pt idx="5">
                  <c:v>-0.375</c:v>
                </c:pt>
                <c:pt idx="6">
                  <c:v>-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4915328"/>
        <c:axId val="214913792"/>
      </c:lineChart>
      <c:dateAx>
        <c:axId val="21481548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7408"/>
        <c:crosses val="autoZero"/>
        <c:auto val="1"/>
        <c:lblOffset val="100"/>
        <c:baseTimeUnit val="days"/>
      </c:dateAx>
      <c:valAx>
        <c:axId val="2148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5488"/>
        <c:crosses val="autoZero"/>
        <c:crossBetween val="between"/>
      </c:valAx>
      <c:dateAx>
        <c:axId val="21491532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3792"/>
        <c:crosses val="autoZero"/>
        <c:auto val="1"/>
        <c:lblOffset val="100"/>
        <c:baseTimeUnit val="days"/>
      </c:dateAx>
      <c:valAx>
        <c:axId val="21491379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5328"/>
        <c:crosses val="max"/>
        <c:crossBetween val="between"/>
      </c:valAx>
      <c:spPr>
        <a:noFill/>
        <a:ln w="25400"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Running Time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797764799524029"/>
          <c:y val="0.124080882352941"/>
          <c:w val="0.845335784086787"/>
          <c:h val="0.635943627450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</c:strCache>
            </c:strRef>
          </c:cat>
          <c:val>
            <c:numRef>
              <c:f>Sheet1!$B$2:$B$47</c:f>
              <c:numCache>
                <c:formatCode>General</c:formatCode>
                <c:ptCount val="46"/>
                <c:pt idx="0">
                  <c:v>0.4</c:v>
                </c:pt>
                <c:pt idx="1">
                  <c:v>42.9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2</c:v>
                </c:pt>
                <c:pt idx="6">
                  <c:v>25.5</c:v>
                </c:pt>
                <c:pt idx="7">
                  <c:v>7.9</c:v>
                </c:pt>
                <c:pt idx="8">
                  <c:v>12.2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1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8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  <c:pt idx="39">
                  <c:v>9</c:v>
                </c:pt>
                <c:pt idx="40">
                  <c:v>7.4</c:v>
                </c:pt>
                <c:pt idx="41">
                  <c:v>10.1</c:v>
                </c:pt>
                <c:pt idx="42">
                  <c:v>13.5</c:v>
                </c:pt>
                <c:pt idx="43">
                  <c:v>2</c:v>
                </c:pt>
                <c:pt idx="44">
                  <c:v>3.2</c:v>
                </c:pt>
                <c:pt idx="45">
                  <c:v>5.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16425600"/>
        <c:axId val="21652684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</c:strCache>
            </c:strRef>
          </c:cat>
          <c:val>
            <c:numRef>
              <c:f>Sheet1!$C$2:$C$47</c:f>
              <c:numCache>
                <c:formatCode>0%</c:formatCode>
                <c:ptCount val="46"/>
                <c:pt idx="0">
                  <c:v>#N/A</c:v>
                </c:pt>
                <c:pt idx="1">
                  <c:v>#N/A</c:v>
                </c:pt>
                <c:pt idx="2" c:formatCode="0.00%">
                  <c:v>0.295612009237875</c:v>
                </c:pt>
                <c:pt idx="3" c:formatCode="0.00%">
                  <c:v>0.486631016042781</c:v>
                </c:pt>
                <c:pt idx="4" c:formatCode="0.00%">
                  <c:v>0.185851318944844</c:v>
                </c:pt>
                <c:pt idx="5" c:formatCode="0.00%">
                  <c:v>0.0728008088978767</c:v>
                </c:pt>
                <c:pt idx="6" c:formatCode="0.00%">
                  <c:v>0.240339302544769</c:v>
                </c:pt>
                <c:pt idx="7" c:formatCode="0.00%">
                  <c:v>0.0600303951367781</c:v>
                </c:pt>
                <c:pt idx="8" c:formatCode="0.00%">
                  <c:v>0.0874551971326165</c:v>
                </c:pt>
                <c:pt idx="9" c:formatCode="0.00%">
                  <c:v>0.276203032300593</c:v>
                </c:pt>
                <c:pt idx="10" c:formatCode="0.00%">
                  <c:v>0.108987603305785</c:v>
                </c:pt>
                <c:pt idx="11" c:formatCode="0.00%">
                  <c:v>0.0661387983232417</c:v>
                </c:pt>
                <c:pt idx="12" c:formatCode="0.00%">
                  <c:v>0.0502402795980778</c:v>
                </c:pt>
                <c:pt idx="13" c:formatCode="0.00%">
                  <c:v>0.0640599001663894</c:v>
                </c:pt>
                <c:pt idx="14" c:formatCode="0.00%">
                  <c:v>0.0879593432369038</c:v>
                </c:pt>
                <c:pt idx="15" c:formatCode="0.00%">
                  <c:v>0.0222781171397772</c:v>
                </c:pt>
                <c:pt idx="16" c:formatCode="0.00%">
                  <c:v>0.0397188049209139</c:v>
                </c:pt>
                <c:pt idx="17" c:formatCode="0.00%">
                  <c:v>0.0226504394861393</c:v>
                </c:pt>
                <c:pt idx="18" c:formatCode="0.00%">
                  <c:v>0.044297520661157</c:v>
                </c:pt>
                <c:pt idx="19" c:formatCode="0.00%">
                  <c:v>0.0471668249446027</c:v>
                </c:pt>
                <c:pt idx="20" c:formatCode="0.00%">
                  <c:v>0.0492744860943168</c:v>
                </c:pt>
                <c:pt idx="21" c:formatCode="0.00%">
                  <c:v>0.0334197637568424</c:v>
                </c:pt>
                <c:pt idx="22" c:formatCode="0.00%">
                  <c:v>0.0248118204627823</c:v>
                </c:pt>
                <c:pt idx="23" c:formatCode="0.00%">
                  <c:v>0.0138737758433079</c:v>
                </c:pt>
                <c:pt idx="24" c:formatCode="0.00%">
                  <c:v>0.0206600482962168</c:v>
                </c:pt>
                <c:pt idx="25" c:formatCode="0.00%">
                  <c:v>0.0299684542586751</c:v>
                </c:pt>
                <c:pt idx="26" c:formatCode="0.00%">
                  <c:v>0.0173557937723328</c:v>
                </c:pt>
                <c:pt idx="27" c:formatCode="0.00%">
                  <c:v>0.0097842448569995</c:v>
                </c:pt>
                <c:pt idx="28" c:formatCode="0.00%">
                  <c:v>0.0245962732919255</c:v>
                </c:pt>
                <c:pt idx="29" c:formatCode="0.00%">
                  <c:v>0.0795344325897187</c:v>
                </c:pt>
                <c:pt idx="30" c:formatCode="0.00%">
                  <c:v>0.0154986522911051</c:v>
                </c:pt>
                <c:pt idx="31" c:formatCode="0.00%">
                  <c:v>0.0294182702941827</c:v>
                </c:pt>
                <c:pt idx="32" c:formatCode="0.00%">
                  <c:v>0.0193382036957456</c:v>
                </c:pt>
                <c:pt idx="33" c:formatCode="0.00%">
                  <c:v>0.0143338954468803</c:v>
                </c:pt>
                <c:pt idx="34" c:formatCode="0.00%">
                  <c:v>0.0178719866999169</c:v>
                </c:pt>
                <c:pt idx="35" c:formatCode="0.00%">
                  <c:v>0.0173540220498163</c:v>
                </c:pt>
                <c:pt idx="36" c:formatCode="0.00%">
                  <c:v>0.0190648203893237</c:v>
                </c:pt>
                <c:pt idx="37" c:formatCode="0.00%">
                  <c:v>0.019495864513588</c:v>
                </c:pt>
                <c:pt idx="38" c:formatCode="0.00%">
                  <c:v>0.0127486961560749</c:v>
                </c:pt>
                <c:pt idx="39" c:formatCode="0.00%">
                  <c:v>0.0171657448025939</c:v>
                </c:pt>
                <c:pt idx="40" c:formatCode="0.00%">
                  <c:v>0.0138758672417026</c:v>
                </c:pt>
                <c:pt idx="41" c:formatCode="0.00%">
                  <c:v>0.0186794895505826</c:v>
                </c:pt>
                <c:pt idx="42" c:formatCode="0.00%">
                  <c:v>0.0245098039215686</c:v>
                </c:pt>
                <c:pt idx="43" c:formatCode="0.00%">
                  <c:v>0.00354421407052986</c:v>
                </c:pt>
                <c:pt idx="44" c:formatCode="0.00%">
                  <c:v>0.00565071516863853</c:v>
                </c:pt>
                <c:pt idx="45" c:formatCode="0.00%">
                  <c:v>0.00913081650570676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Pt>
            <c:idx val="6"/>
            <c:marker>
              <c:symbol val="square"/>
              <c:size val="7"/>
              <c:spPr>
                <a:solidFill>
                  <a:srgbClr val="8C8C8C"/>
                </a:solidFill>
                <a:ln w="9525" cap="flat" cmpd="sng" algn="ctr">
                  <a:solidFill>
                    <a:srgbClr val="8C8C8C"/>
                  </a:solidFill>
                  <a:round/>
                </a:ln>
                <a:effectLst/>
              </c:spPr>
            </c:marker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</c:strCache>
            </c:strRef>
          </c:cat>
          <c:val>
            <c:numRef>
              <c:f>Sheet1!$D$2:$D$47</c:f>
              <c:numCache>
                <c:formatCode>0%</c:formatCode>
                <c:ptCount val="46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-0.701631701631702</c:v>
                </c:pt>
                <c:pt idx="3" c:formatCode="0.00%">
                  <c:v>1.1328125</c:v>
                </c:pt>
                <c:pt idx="4" c:formatCode="0.00%">
                  <c:v>-0.432234432234432</c:v>
                </c:pt>
                <c:pt idx="5" c:formatCode="0.00%">
                  <c:v>-0.535483870967742</c:v>
                </c:pt>
                <c:pt idx="6" c:formatCode="0.00%">
                  <c:v>2.54166666666667</c:v>
                </c:pt>
                <c:pt idx="7" c:formatCode="0.00%">
                  <c:v>-0.690196078431373</c:v>
                </c:pt>
                <c:pt idx="8" c:formatCode="0.00%">
                  <c:v>0.544303797468354</c:v>
                </c:pt>
                <c:pt idx="9" c:formatCode="0.00%">
                  <c:v>2.4344262295082</c:v>
                </c:pt>
                <c:pt idx="10" c:formatCode="0.00%">
                  <c:v>-0.496420047732697</c:v>
                </c:pt>
                <c:pt idx="11" c:formatCode="0.00%">
                  <c:v>-0.327014218009479</c:v>
                </c:pt>
                <c:pt idx="12" c:formatCode="0.00%">
                  <c:v>-0.190140845070423</c:v>
                </c:pt>
                <c:pt idx="13" c:formatCode="0.00%">
                  <c:v>0.339130434782609</c:v>
                </c:pt>
                <c:pt idx="14" c:formatCode="0.00%">
                  <c:v>0.461038961038961</c:v>
                </c:pt>
                <c:pt idx="15" c:formatCode="0.00%">
                  <c:v>-0.724444444444444</c:v>
                </c:pt>
                <c:pt idx="16" c:formatCode="0.00%">
                  <c:v>0.82258064516129</c:v>
                </c:pt>
                <c:pt idx="17" c:formatCode="0.00%">
                  <c:v>-0.407079646017699</c:v>
                </c:pt>
                <c:pt idx="18" c:formatCode="0.00%">
                  <c:v>1</c:v>
                </c:pt>
                <c:pt idx="19" c:formatCode="0.00%">
                  <c:v>0.111940298507463</c:v>
                </c:pt>
                <c:pt idx="20" c:formatCode="0.00%">
                  <c:v>0.0939597315436242</c:v>
                </c:pt>
                <c:pt idx="21" c:formatCode="0.00%">
                  <c:v>-0.288343558282209</c:v>
                </c:pt>
                <c:pt idx="22" c:formatCode="0.00%">
                  <c:v>-0.232758620689655</c:v>
                </c:pt>
                <c:pt idx="23" c:formatCode="0.00%">
                  <c:v>-0.426966292134832</c:v>
                </c:pt>
                <c:pt idx="24" c:formatCode="0.00%">
                  <c:v>0.509803921568628</c:v>
                </c:pt>
                <c:pt idx="25" c:formatCode="0.00%">
                  <c:v>0.480519480519481</c:v>
                </c:pt>
                <c:pt idx="26" c:formatCode="0.00%">
                  <c:v>-0.403508771929825</c:v>
                </c:pt>
                <c:pt idx="27" c:formatCode="0.00%">
                  <c:v>-0.426470588235294</c:v>
                </c:pt>
                <c:pt idx="28" c:formatCode="0.00%">
                  <c:v>1.53846153846154</c:v>
                </c:pt>
                <c:pt idx="29" c:formatCode="0.00%">
                  <c:v>2.31313131313131</c:v>
                </c:pt>
                <c:pt idx="30" c:formatCode="0.00%">
                  <c:v>-0.789634146341463</c:v>
                </c:pt>
                <c:pt idx="31" c:formatCode="0.00%">
                  <c:v>0.927536231884058</c:v>
                </c:pt>
                <c:pt idx="32" c:formatCode="0.00%">
                  <c:v>-0.323308270676692</c:v>
                </c:pt>
                <c:pt idx="33" c:formatCode="0.00%">
                  <c:v>-0.244444444444444</c:v>
                </c:pt>
                <c:pt idx="34" c:formatCode="0.00%">
                  <c:v>0.264705882352941</c:v>
                </c:pt>
                <c:pt idx="35" c:formatCode="0.00%">
                  <c:v>-0.0116279069767441</c:v>
                </c:pt>
                <c:pt idx="36" c:formatCode="0.00%">
                  <c:v>0.117647058823529</c:v>
                </c:pt>
                <c:pt idx="37" c:formatCode="0.00%">
                  <c:v>0.0421052631578948</c:v>
                </c:pt>
                <c:pt idx="38" c:formatCode="0.00%">
                  <c:v>-0.333333333333333</c:v>
                </c:pt>
                <c:pt idx="39" c:formatCode="0.00%">
                  <c:v>0.363636363636364</c:v>
                </c:pt>
                <c:pt idx="40" c:formatCode="0.00%">
                  <c:v>-0.177777777777778</c:v>
                </c:pt>
                <c:pt idx="41" c:formatCode="0.00%">
                  <c:v>0.364864864864865</c:v>
                </c:pt>
                <c:pt idx="42" c:formatCode="0.00%">
                  <c:v>0.336633663366337</c:v>
                </c:pt>
                <c:pt idx="43" c:formatCode="0.00%">
                  <c:v>-0.851851851851852</c:v>
                </c:pt>
                <c:pt idx="44" c:formatCode="0.00%">
                  <c:v>0.6</c:v>
                </c:pt>
                <c:pt idx="45" c:formatCode="0.00%">
                  <c:v>0.625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16530304"/>
        <c:axId val="216528768"/>
      </c:lineChart>
      <c:catAx>
        <c:axId val="21642560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526848"/>
        <c:crosses val="autoZero"/>
        <c:auto val="1"/>
        <c:lblAlgn val="ctr"/>
        <c:lblOffset val="100"/>
        <c:noMultiLvlLbl val="0"/>
      </c:catAx>
      <c:valAx>
        <c:axId val="21652684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425600"/>
        <c:crosses val="autoZero"/>
        <c:crossBetween val="between"/>
      </c:valAx>
      <c:catAx>
        <c:axId val="2165303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528768"/>
        <c:crosses val="autoZero"/>
        <c:auto val="1"/>
        <c:lblAlgn val="ctr"/>
        <c:lblOffset val="100"/>
        <c:noMultiLvlLbl val="0"/>
      </c:catAx>
      <c:valAx>
        <c:axId val="216528768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5303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Downloads-CW 07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1090046074227"/>
          <c:y val="0.160939108356977"/>
          <c:w val="0.761036382495876"/>
          <c:h val="0.50606862211156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Lbls>
            <c:dLbl>
              <c:idx val="3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7:$A$63</c:f>
              <c:numCache>
                <c:formatCode>m/d;@</c:formatCode>
                <c:ptCount val="7"/>
                <c:pt idx="0" c:formatCode="m/d;@">
                  <c:v>43871</c:v>
                </c:pt>
                <c:pt idx="1" c:formatCode="m/d;@">
                  <c:v>43872</c:v>
                </c:pt>
                <c:pt idx="2" c:formatCode="m/d;@">
                  <c:v>43873</c:v>
                </c:pt>
                <c:pt idx="3" c:formatCode="m/d;@">
                  <c:v>43874</c:v>
                </c:pt>
                <c:pt idx="4" c:formatCode="m/d;@">
                  <c:v>43875</c:v>
                </c:pt>
                <c:pt idx="5" c:formatCode="m/d;@">
                  <c:v>43876</c:v>
                </c:pt>
                <c:pt idx="6" c:formatCode="m/d;@">
                  <c:v>43877</c:v>
                </c:pt>
              </c:numCache>
            </c:numRef>
          </c:cat>
          <c:val>
            <c:numRef>
              <c:f>Sheet1!$B$57:$B$63</c:f>
              <c:numCache>
                <c:formatCode>General</c:formatCode>
                <c:ptCount val="7"/>
                <c:pt idx="0">
                  <c:v>1</c:v>
                </c:pt>
                <c:pt idx="1">
                  <c:v>1</c:v>
                </c:pt>
                <c:pt idx="2">
                  <c:v>2</c:v>
                </c:pt>
                <c:pt idx="3">
                  <c:v>2</c:v>
                </c:pt>
                <c:pt idx="4">
                  <c:v>3</c:v>
                </c:pt>
                <c:pt idx="5">
                  <c:v>2</c:v>
                </c:pt>
                <c:pt idx="6">
                  <c:v>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</c:dLbl>
            <c:dLbl>
              <c:idx val="4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7:$A$63</c:f>
              <c:numCache>
                <c:formatCode>m/d;@</c:formatCode>
                <c:ptCount val="7"/>
                <c:pt idx="0" c:formatCode="m/d;@">
                  <c:v>43871</c:v>
                </c:pt>
                <c:pt idx="1" c:formatCode="m/d;@">
                  <c:v>43872</c:v>
                </c:pt>
                <c:pt idx="2" c:formatCode="m/d;@">
                  <c:v>43873</c:v>
                </c:pt>
                <c:pt idx="3" c:formatCode="m/d;@">
                  <c:v>43874</c:v>
                </c:pt>
                <c:pt idx="4" c:formatCode="m/d;@">
                  <c:v>43875</c:v>
                </c:pt>
                <c:pt idx="5" c:formatCode="m/d;@">
                  <c:v>43876</c:v>
                </c:pt>
                <c:pt idx="6" c:formatCode="m/d;@">
                  <c:v>43877</c:v>
                </c:pt>
              </c:numCache>
            </c:numRef>
          </c:cat>
          <c:val>
            <c:numRef>
              <c:f>Sheet1!$C$57:$C$63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0</c:v>
                </c:pt>
                <c:pt idx="4">
                  <c:v>3</c:v>
                </c:pt>
                <c:pt idx="5">
                  <c:v>1</c:v>
                </c:pt>
                <c:pt idx="6">
                  <c:v>1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）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57:$A$63</c:f>
              <c:numCache>
                <c:formatCode>m/d;@</c:formatCode>
                <c:ptCount val="7"/>
                <c:pt idx="0" c:formatCode="m/d;@">
                  <c:v>43871</c:v>
                </c:pt>
                <c:pt idx="1" c:formatCode="m/d;@">
                  <c:v>43872</c:v>
                </c:pt>
                <c:pt idx="2" c:formatCode="m/d;@">
                  <c:v>43873</c:v>
                </c:pt>
                <c:pt idx="3" c:formatCode="m/d;@">
                  <c:v>43874</c:v>
                </c:pt>
                <c:pt idx="4" c:formatCode="m/d;@">
                  <c:v>43875</c:v>
                </c:pt>
                <c:pt idx="5" c:formatCode="m/d;@">
                  <c:v>43876</c:v>
                </c:pt>
                <c:pt idx="6" c:formatCode="m/d;@">
                  <c:v>43877</c:v>
                </c:pt>
              </c:numCache>
            </c:numRef>
          </c:cat>
          <c:val>
            <c:numRef>
              <c:f>Sheet1!$D$57:$D$63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99120768"/>
        <c:axId val="199156096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 Growth Rate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numRef>
              <c:f>Sheet1!$A$57:$A$63</c:f>
              <c:numCache>
                <c:formatCode>m/d;@</c:formatCode>
                <c:ptCount val="7"/>
                <c:pt idx="0" c:formatCode="m/d;@">
                  <c:v>43871</c:v>
                </c:pt>
                <c:pt idx="1" c:formatCode="m/d;@">
                  <c:v>43872</c:v>
                </c:pt>
                <c:pt idx="2" c:formatCode="m/d;@">
                  <c:v>43873</c:v>
                </c:pt>
                <c:pt idx="3" c:formatCode="m/d;@">
                  <c:v>43874</c:v>
                </c:pt>
                <c:pt idx="4" c:formatCode="m/d;@">
                  <c:v>43875</c:v>
                </c:pt>
                <c:pt idx="5" c:formatCode="m/d;@">
                  <c:v>43876</c:v>
                </c:pt>
                <c:pt idx="6" c:formatCode="m/d;@">
                  <c:v>43877</c:v>
                </c:pt>
              </c:numCache>
            </c:numRef>
          </c:cat>
          <c:val>
            <c:numRef>
              <c:f>Sheet1!$E$57:$E$63</c:f>
              <c:numCache>
                <c:formatCode>0%</c:formatCode>
                <c:ptCount val="7"/>
                <c:pt idx="0">
                  <c:v>0</c:v>
                </c:pt>
                <c:pt idx="1">
                  <c:v>0</c:v>
                </c:pt>
                <c:pt idx="2">
                  <c:v>2</c:v>
                </c:pt>
                <c:pt idx="3">
                  <c:v>-0.333333333333333</c:v>
                </c:pt>
                <c:pt idx="4">
                  <c:v>2</c:v>
                </c:pt>
                <c:pt idx="5">
                  <c:v>-0.5</c:v>
                </c:pt>
                <c:pt idx="6">
                  <c:v>-0.333333333333333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9159808"/>
        <c:axId val="199158016"/>
      </c:lineChart>
      <c:dateAx>
        <c:axId val="19912076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dirty="0"/>
                  <a:t>Date</a:t>
                </a:r>
                <a:endParaRPr lang="zh-CN" alt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6096"/>
        <c:crosses val="autoZero"/>
        <c:auto val="1"/>
        <c:lblOffset val="100"/>
        <c:baseTimeUnit val="days"/>
      </c:dateAx>
      <c:valAx>
        <c:axId val="1991560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20768"/>
        <c:crosses val="autoZero"/>
        <c:crossBetween val="between"/>
      </c:valAx>
      <c:dateAx>
        <c:axId val="19915980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8016"/>
        <c:crosses val="autoZero"/>
        <c:auto val="1"/>
        <c:lblOffset val="100"/>
        <c:baseTimeUnit val="days"/>
        <c:majorUnit val="1"/>
        <c:majorTimeUnit val="days"/>
        <c:minorUnit val="1"/>
        <c:minorTimeUnit val="days"/>
      </c:dateAx>
      <c:valAx>
        <c:axId val="199158016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98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  <c:userShapes r:id="rId2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Running Time</a:t>
            </a:r>
            <a:endParaRPr lang="en-US" sz="18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</c:strCache>
            </c:strRef>
          </c:cat>
          <c:val>
            <c:numRef>
              <c:f>Sheet1!$B$2:$B$47</c:f>
              <c:numCache>
                <c:formatCode>General</c:formatCode>
                <c:ptCount val="46"/>
                <c:pt idx="0">
                  <c:v>0.4</c:v>
                </c:pt>
                <c:pt idx="1">
                  <c:v>42.9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2</c:v>
                </c:pt>
                <c:pt idx="6">
                  <c:v>25.5</c:v>
                </c:pt>
                <c:pt idx="7">
                  <c:v>7.9</c:v>
                </c:pt>
                <c:pt idx="8">
                  <c:v>12.2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1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8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  <c:pt idx="39">
                  <c:v>9</c:v>
                </c:pt>
                <c:pt idx="40">
                  <c:v>7.4</c:v>
                </c:pt>
                <c:pt idx="41">
                  <c:v>10.1</c:v>
                </c:pt>
                <c:pt idx="42">
                  <c:v>13.5</c:v>
                </c:pt>
                <c:pt idx="43">
                  <c:v>2</c:v>
                </c:pt>
                <c:pt idx="44">
                  <c:v>3.2</c:v>
                </c:pt>
                <c:pt idx="45">
                  <c:v>5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17015424"/>
        <c:axId val="21701734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Running Tim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9"/>
              <c:layout>
                <c:manualLayout>
                  <c:x val="-0.0308288259547667"/>
                  <c:y val="-0.037528195442919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5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</c:strCache>
            </c:strRef>
          </c:cat>
          <c:val>
            <c:numRef>
              <c:f>Sheet1!$C$2:$C$47</c:f>
              <c:numCache>
                <c:formatCode>0.00</c:formatCode>
                <c:ptCount val="46"/>
                <c:pt idx="0">
                  <c:v>0.4</c:v>
                </c:pt>
                <c:pt idx="1">
                  <c:v>21.65</c:v>
                </c:pt>
                <c:pt idx="2">
                  <c:v>18.7</c:v>
                </c:pt>
                <c:pt idx="3">
                  <c:v>20.85</c:v>
                </c:pt>
                <c:pt idx="4">
                  <c:v>19.78</c:v>
                </c:pt>
                <c:pt idx="5">
                  <c:v>17.6833333333333</c:v>
                </c:pt>
                <c:pt idx="6">
                  <c:v>18.8</c:v>
                </c:pt>
                <c:pt idx="7">
                  <c:v>17.4375</c:v>
                </c:pt>
                <c:pt idx="8">
                  <c:v>16.8555555555556</c:v>
                </c:pt>
                <c:pt idx="9">
                  <c:v>19.36</c:v>
                </c:pt>
                <c:pt idx="10">
                  <c:v>19.5181818181818</c:v>
                </c:pt>
                <c:pt idx="11">
                  <c:v>19.075</c:v>
                </c:pt>
                <c:pt idx="12">
                  <c:v>18.4923076923077</c:v>
                </c:pt>
                <c:pt idx="13">
                  <c:v>18.2714285714286</c:v>
                </c:pt>
                <c:pt idx="14">
                  <c:v>18.5533333333333</c:v>
                </c:pt>
                <c:pt idx="15">
                  <c:v>17.78125</c:v>
                </c:pt>
                <c:pt idx="16">
                  <c:v>17.4</c:v>
                </c:pt>
                <c:pt idx="17">
                  <c:v>16.8055555555556</c:v>
                </c:pt>
                <c:pt idx="18">
                  <c:v>16.6263157894737</c:v>
                </c:pt>
                <c:pt idx="19">
                  <c:v>16.54</c:v>
                </c:pt>
                <c:pt idx="20">
                  <c:v>16.5285714285714</c:v>
                </c:pt>
                <c:pt idx="21">
                  <c:v>16.3045454545455</c:v>
                </c:pt>
                <c:pt idx="22">
                  <c:v>15.9826086956522</c:v>
                </c:pt>
                <c:pt idx="23">
                  <c:v>15.5291666666667</c:v>
                </c:pt>
                <c:pt idx="24">
                  <c:v>15.216</c:v>
                </c:pt>
                <c:pt idx="25">
                  <c:v>15.0692307692308</c:v>
                </c:pt>
                <c:pt idx="26">
                  <c:v>14.762962962963</c:v>
                </c:pt>
                <c:pt idx="27">
                  <c:v>14.375</c:v>
                </c:pt>
                <c:pt idx="28">
                  <c:v>14.2206896551724</c:v>
                </c:pt>
                <c:pt idx="29">
                  <c:v>14.84</c:v>
                </c:pt>
                <c:pt idx="30">
                  <c:v>14.5838709677419</c:v>
                </c:pt>
                <c:pt idx="31">
                  <c:v>14.54375</c:v>
                </c:pt>
                <c:pt idx="32">
                  <c:v>14.3757575757576</c:v>
                </c:pt>
                <c:pt idx="33">
                  <c:v>14.1529411764706</c:v>
                </c:pt>
                <c:pt idx="34">
                  <c:v>13.9942857142857</c:v>
                </c:pt>
                <c:pt idx="35">
                  <c:v>13.8416666666667</c:v>
                </c:pt>
                <c:pt idx="36">
                  <c:v>13.7243243243243</c:v>
                </c:pt>
                <c:pt idx="37">
                  <c:v>13.6236842105263</c:v>
                </c:pt>
                <c:pt idx="38">
                  <c:v>13.4435897435897</c:v>
                </c:pt>
                <c:pt idx="39">
                  <c:v>13.3325</c:v>
                </c:pt>
                <c:pt idx="40">
                  <c:v>13.1878048780488</c:v>
                </c:pt>
                <c:pt idx="41">
                  <c:v>13.1142857142857</c:v>
                </c:pt>
                <c:pt idx="42">
                  <c:v>13.1232558139535</c:v>
                </c:pt>
                <c:pt idx="43">
                  <c:v>12.8704545454545</c:v>
                </c:pt>
                <c:pt idx="44">
                  <c:v>12.6555555555556</c:v>
                </c:pt>
                <c:pt idx="45">
                  <c:v>12.493478260869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7015424"/>
        <c:axId val="217017344"/>
      </c:lineChart>
      <c:dateAx>
        <c:axId val="21701542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 </a:t>
                </a: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7017344"/>
        <c:crosses val="autoZero"/>
        <c:auto val="0"/>
        <c:lblAlgn val="ctr"/>
        <c:lblOffset val="100"/>
        <c:baseTimeUnit val="days"/>
      </c:dateAx>
      <c:valAx>
        <c:axId val="2170173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70154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  <a:latin typeface="+mn-lt"/>
              </a:rPr>
              <a:t>Average Daily Running Time</a:t>
            </a:r>
            <a:endParaRPr lang="zh-CN" altLang="zh-CN" sz="2000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</c:strCache>
            </c:strRef>
          </c:cat>
          <c:val>
            <c:numRef>
              <c:f>Sheet1!$B$2:$B$47</c:f>
              <c:numCache>
                <c:formatCode>General</c:formatCode>
                <c:ptCount val="46"/>
                <c:pt idx="0">
                  <c:v>0.4</c:v>
                </c:pt>
                <c:pt idx="1">
                  <c:v>42.9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2</c:v>
                </c:pt>
                <c:pt idx="6">
                  <c:v>25.5</c:v>
                </c:pt>
                <c:pt idx="7">
                  <c:v>7.9</c:v>
                </c:pt>
                <c:pt idx="8">
                  <c:v>12.2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1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8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  <c:pt idx="39">
                  <c:v>9</c:v>
                </c:pt>
                <c:pt idx="40">
                  <c:v>7.4</c:v>
                </c:pt>
                <c:pt idx="41">
                  <c:v>10.1</c:v>
                </c:pt>
                <c:pt idx="42">
                  <c:v>13.5</c:v>
                </c:pt>
                <c:pt idx="43">
                  <c:v>2</c:v>
                </c:pt>
                <c:pt idx="44">
                  <c:v>3.2</c:v>
                </c:pt>
                <c:pt idx="45">
                  <c:v>5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23089408"/>
        <c:axId val="22309132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Running Time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5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500" b="0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</c:strCache>
            </c:strRef>
          </c:cat>
          <c:val>
            <c:numRef>
              <c:f>Sheet1!$C$2:$C$47</c:f>
              <c:numCache>
                <c:formatCode>0.00</c:formatCode>
                <c:ptCount val="46"/>
                <c:pt idx="0">
                  <c:v>0.2</c:v>
                </c:pt>
                <c:pt idx="1">
                  <c:v>6.12857142857143</c:v>
                </c:pt>
                <c:pt idx="2">
                  <c:v>1.82857142857143</c:v>
                </c:pt>
                <c:pt idx="3">
                  <c:v>3.9</c:v>
                </c:pt>
                <c:pt idx="4">
                  <c:v>2.21428571428571</c:v>
                </c:pt>
                <c:pt idx="5">
                  <c:v>1.02857142857143</c:v>
                </c:pt>
                <c:pt idx="6">
                  <c:v>3.64285714285714</c:v>
                </c:pt>
                <c:pt idx="7">
                  <c:v>1.12857142857143</c:v>
                </c:pt>
                <c:pt idx="8">
                  <c:v>1.74285714285714</c:v>
                </c:pt>
                <c:pt idx="9">
                  <c:v>5.98571428571429</c:v>
                </c:pt>
                <c:pt idx="10">
                  <c:v>3.01428571428571</c:v>
                </c:pt>
                <c:pt idx="11">
                  <c:v>2.02857142857143</c:v>
                </c:pt>
                <c:pt idx="12">
                  <c:v>1.64285714285714</c:v>
                </c:pt>
                <c:pt idx="13">
                  <c:v>2.2</c:v>
                </c:pt>
                <c:pt idx="14">
                  <c:v>3.21428571428571</c:v>
                </c:pt>
                <c:pt idx="15">
                  <c:v>0.885714285714286</c:v>
                </c:pt>
                <c:pt idx="16">
                  <c:v>1.61428571428571</c:v>
                </c:pt>
                <c:pt idx="17">
                  <c:v>0.957142857142857</c:v>
                </c:pt>
                <c:pt idx="18">
                  <c:v>1.91428571428571</c:v>
                </c:pt>
                <c:pt idx="19">
                  <c:v>2.12857142857143</c:v>
                </c:pt>
                <c:pt idx="20">
                  <c:v>2.32857142857143</c:v>
                </c:pt>
                <c:pt idx="21">
                  <c:v>1.65714285714286</c:v>
                </c:pt>
                <c:pt idx="22">
                  <c:v>1.27142857142857</c:v>
                </c:pt>
                <c:pt idx="23">
                  <c:v>0.728571428571429</c:v>
                </c:pt>
                <c:pt idx="24">
                  <c:v>1.1</c:v>
                </c:pt>
                <c:pt idx="25">
                  <c:v>1.62857142857143</c:v>
                </c:pt>
                <c:pt idx="26">
                  <c:v>0.971428571428571</c:v>
                </c:pt>
                <c:pt idx="27">
                  <c:v>0.557142857142857</c:v>
                </c:pt>
                <c:pt idx="28">
                  <c:v>1.41428571428571</c:v>
                </c:pt>
                <c:pt idx="29">
                  <c:v>4.68571428571429</c:v>
                </c:pt>
                <c:pt idx="30">
                  <c:v>0.985714285714286</c:v>
                </c:pt>
                <c:pt idx="31">
                  <c:v>1.9</c:v>
                </c:pt>
                <c:pt idx="32">
                  <c:v>1.28571428571429</c:v>
                </c:pt>
                <c:pt idx="33">
                  <c:v>0.971428571428571</c:v>
                </c:pt>
                <c:pt idx="34">
                  <c:v>1.22857142857143</c:v>
                </c:pt>
                <c:pt idx="35">
                  <c:v>1.21428571428571</c:v>
                </c:pt>
                <c:pt idx="36">
                  <c:v>1.35714285714286</c:v>
                </c:pt>
                <c:pt idx="37">
                  <c:v>1.41428571428571</c:v>
                </c:pt>
                <c:pt idx="38">
                  <c:v>0.942857142857143</c:v>
                </c:pt>
                <c:pt idx="39">
                  <c:v>1.28571428571429</c:v>
                </c:pt>
                <c:pt idx="40">
                  <c:v>1.05714285714286</c:v>
                </c:pt>
                <c:pt idx="41">
                  <c:v>1.44285714285714</c:v>
                </c:pt>
                <c:pt idx="42">
                  <c:v>1.92857142857143</c:v>
                </c:pt>
                <c:pt idx="43">
                  <c:v>0.285714285714286</c:v>
                </c:pt>
                <c:pt idx="44">
                  <c:v>0.457142857142857</c:v>
                </c:pt>
                <c:pt idx="45">
                  <c:v>0.74285714285714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3089408"/>
        <c:axId val="223091328"/>
      </c:lineChart>
      <c:dateAx>
        <c:axId val="22308940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3091328"/>
        <c:crosses val="autoZero"/>
        <c:auto val="0"/>
        <c:lblAlgn val="ctr"/>
        <c:lblOffset val="100"/>
        <c:baseTimeUnit val="days"/>
      </c:dateAx>
      <c:valAx>
        <c:axId val="2230913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30894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Running Time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Running Time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rgbClr val="C00000"/>
              </a:solidFill>
            </a:ln>
            <a:effectLst/>
          </c:spPr>
          <c:invertIfNegative val="0"/>
          <c:dPt>
            <c:idx val="2"/>
            <c:invertIfNegative val="0"/>
            <c:bubble3D val="0"/>
          </c:dPt>
          <c:dLbls>
            <c:dLbl>
              <c:idx val="5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64.9</c:v>
                </c:pt>
                <c:pt idx="1">
                  <c:v>73.5</c:v>
                </c:pt>
                <c:pt idx="2">
                  <c:v>90.5</c:v>
                </c:pt>
                <c:pt idx="3">
                  <c:v>60.2</c:v>
                </c:pt>
                <c:pt idx="4">
                  <c:v>57.4</c:v>
                </c:pt>
                <c:pt idx="5">
                  <c:v>39.4</c:v>
                </c:pt>
                <c:pt idx="6">
                  <c:v>35</c:v>
                </c:pt>
                <c:pt idx="7">
                  <c:v>60.3</c:v>
                </c:pt>
                <c:pt idx="8">
                  <c:v>38.2</c:v>
                </c:pt>
                <c:pt idx="9">
                  <c:v>36.1</c:v>
                </c:pt>
                <c:pt idx="10">
                  <c:v>19.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9137024"/>
        <c:axId val="20916121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Pt>
            <c:idx val="1"/>
            <c:marker>
              <c:symbol val="diamond"/>
              <c:size val="7"/>
              <c:spPr>
                <a:solidFill>
                  <a:srgbClr val="E2BCBF"/>
                </a:solidFill>
                <a:ln w="9525" cap="flat" cmpd="sng" algn="ctr">
                  <a:solidFill>
                    <a:srgbClr val="E2BCBF"/>
                  </a:solidFill>
                  <a:round/>
                </a:ln>
                <a:effectLst/>
              </c:spPr>
            </c:marker>
            <c:bubble3D val="0"/>
          </c:dPt>
          <c:dPt>
            <c:idx val="2"/>
            <c:marker>
              <c:symbol val="diamond"/>
              <c:size val="7"/>
              <c:spPr>
                <a:solidFill>
                  <a:srgbClr val="E2BCBF"/>
                </a:solidFill>
                <a:ln w="9525" cap="flat" cmpd="sng" algn="ctr">
                  <a:solidFill>
                    <a:srgbClr val="E2BCBF"/>
                  </a:solidFill>
                  <a:round/>
                </a:ln>
                <a:effectLst/>
              </c:spPr>
            </c:marker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C$2:$C$12</c:f>
              <c:numCache>
                <c:formatCode>0%</c:formatCode>
                <c:ptCount val="11"/>
                <c:pt idx="0">
                  <c:v>#N/A</c:v>
                </c:pt>
                <c:pt idx="1">
                  <c:v>1.13251155624037</c:v>
                </c:pt>
                <c:pt idx="2" c:formatCode="0.00%">
                  <c:v>0.653901734104046</c:v>
                </c:pt>
                <c:pt idx="3" c:formatCode="0.00%">
                  <c:v>0.262996941896024</c:v>
                </c:pt>
                <c:pt idx="4" c:formatCode="0.00%">
                  <c:v>0.198547215496368</c:v>
                </c:pt>
                <c:pt idx="5" c:formatCode="0.00%">
                  <c:v>0.113708513708514</c:v>
                </c:pt>
                <c:pt idx="6" c:formatCode="0.00%">
                  <c:v>0.090697071780254</c:v>
                </c:pt>
                <c:pt idx="7" c:formatCode="0.00%">
                  <c:v>0.143264433357092</c:v>
                </c:pt>
                <c:pt idx="8" c:formatCode="0.00%">
                  <c:v>0.0793848711554447</c:v>
                </c:pt>
                <c:pt idx="9" c:formatCode="0.00%">
                  <c:v>0.0695032730073161</c:v>
                </c:pt>
                <c:pt idx="10" c:formatCode="0.00%">
                  <c:v>0.0345634563456346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D$2:$D$12</c:f>
              <c:numCache>
                <c:formatCode>0%</c:formatCode>
                <c:ptCount val="11"/>
                <c:pt idx="0">
                  <c:v>#N/A</c:v>
                </c:pt>
                <c:pt idx="1">
                  <c:v>0.13251155624037</c:v>
                </c:pt>
                <c:pt idx="2" c:formatCode="0.00%">
                  <c:v>0.231292517006803</c:v>
                </c:pt>
                <c:pt idx="3" c:formatCode="0.00%">
                  <c:v>-0.334806629834254</c:v>
                </c:pt>
                <c:pt idx="4" c:formatCode="0.00%">
                  <c:v>-0.0465116279069768</c:v>
                </c:pt>
                <c:pt idx="5" c:formatCode="0.00%">
                  <c:v>-0.313588850174216</c:v>
                </c:pt>
                <c:pt idx="6" c:formatCode="0.00%">
                  <c:v>-0.111675126903553</c:v>
                </c:pt>
                <c:pt idx="7" c:formatCode="0.00%">
                  <c:v>0.722857142857143</c:v>
                </c:pt>
                <c:pt idx="8" c:formatCode="0.00%">
                  <c:v>-0.366500829187396</c:v>
                </c:pt>
                <c:pt idx="9" c:formatCode="0.00%">
                  <c:v>-0.0549738219895288</c:v>
                </c:pt>
                <c:pt idx="10" c:formatCode="0.00%">
                  <c:v>-0.46814404432133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9769984"/>
        <c:axId val="209659008"/>
      </c:lineChart>
      <c:catAx>
        <c:axId val="20913702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61216"/>
        <c:crosses val="autoZero"/>
        <c:auto val="1"/>
        <c:lblAlgn val="ctr"/>
        <c:lblOffset val="100"/>
        <c:noMultiLvlLbl val="0"/>
      </c:catAx>
      <c:valAx>
        <c:axId val="20916121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37024"/>
        <c:crosses val="autoZero"/>
        <c:crossBetween val="between"/>
      </c:valAx>
      <c:catAx>
        <c:axId val="2097699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659008"/>
        <c:crosses val="autoZero"/>
        <c:auto val="1"/>
        <c:lblAlgn val="ctr"/>
        <c:lblOffset val="100"/>
        <c:noMultiLvlLbl val="0"/>
      </c:catAx>
      <c:valAx>
        <c:axId val="209659008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6998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A3A3A3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rPr>
              <a:t>User Activities-CW 08</a:t>
            </a:r>
            <a:endParaRPr lang="en-US" altLang="zh-CN" sz="1800" b="0" i="0" u="none" strike="noStrike" kern="1200" spc="0" baseline="0" dirty="0">
              <a:solidFill>
                <a:srgbClr val="000000">
                  <a:lumMod val="65000"/>
                  <a:lumOff val="35000"/>
                </a:srgbClr>
              </a:solidFill>
              <a:effectLst/>
              <a:latin typeface="+mn-lt"/>
              <a:ea typeface="+mn-ea"/>
              <a:cs typeface="+mn-cs"/>
            </a:endParaRPr>
          </a:p>
        </c:rich>
      </c:tx>
      <c:layout>
        <c:manualLayout>
          <c:xMode val="edge"/>
          <c:yMode val="edge"/>
          <c:x val="0.286007139259864"/>
          <c:y val="0.0144927536231884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5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8:$A$64</c:f>
              <c:numCache>
                <c:formatCode>yyyy/m/d</c:formatCode>
                <c:ptCount val="7"/>
                <c:pt idx="0" c:formatCode="yyyy/m/d">
                  <c:v>43878</c:v>
                </c:pt>
                <c:pt idx="1" c:formatCode="yyyy/m/d">
                  <c:v>43879</c:v>
                </c:pt>
                <c:pt idx="2" c:formatCode="yyyy/m/d">
                  <c:v>43880</c:v>
                </c:pt>
                <c:pt idx="3" c:formatCode="yyyy/m/d">
                  <c:v>43881</c:v>
                </c:pt>
                <c:pt idx="4" c:formatCode="yyyy/m/d">
                  <c:v>43882</c:v>
                </c:pt>
                <c:pt idx="5" c:formatCode="yyyy/m/d">
                  <c:v>43883</c:v>
                </c:pt>
                <c:pt idx="6" c:formatCode="yyyy/m/d">
                  <c:v>43884</c:v>
                </c:pt>
              </c:numCache>
            </c:numRef>
          </c:cat>
          <c:val>
            <c:numRef>
              <c:f>Sheet1!$B$58:$B$64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58:$A$64</c:f>
              <c:numCache>
                <c:formatCode>yyyy/m/d</c:formatCode>
                <c:ptCount val="7"/>
                <c:pt idx="0" c:formatCode="yyyy/m/d">
                  <c:v>43878</c:v>
                </c:pt>
                <c:pt idx="1" c:formatCode="yyyy/m/d">
                  <c:v>43879</c:v>
                </c:pt>
                <c:pt idx="2" c:formatCode="yyyy/m/d">
                  <c:v>43880</c:v>
                </c:pt>
                <c:pt idx="3" c:formatCode="yyyy/m/d">
                  <c:v>43881</c:v>
                </c:pt>
                <c:pt idx="4" c:formatCode="yyyy/m/d">
                  <c:v>43882</c:v>
                </c:pt>
                <c:pt idx="5" c:formatCode="yyyy/m/d">
                  <c:v>43883</c:v>
                </c:pt>
                <c:pt idx="6" c:formatCode="yyyy/m/d">
                  <c:v>43884</c:v>
                </c:pt>
              </c:numCache>
            </c:numRef>
          </c:cat>
          <c:val>
            <c:numRef>
              <c:f>Sheet1!$C$58:$C$64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</c:dPt>
          <c:dLbls>
            <c:delete val="1"/>
          </c:dLbls>
          <c:cat>
            <c:numRef>
              <c:f>Sheet1!$A$58:$A$64</c:f>
              <c:numCache>
                <c:formatCode>yyyy/m/d</c:formatCode>
                <c:ptCount val="7"/>
                <c:pt idx="0" c:formatCode="yyyy/m/d">
                  <c:v>43878</c:v>
                </c:pt>
                <c:pt idx="1" c:formatCode="yyyy/m/d">
                  <c:v>43879</c:v>
                </c:pt>
                <c:pt idx="2" c:formatCode="yyyy/m/d">
                  <c:v>43880</c:v>
                </c:pt>
                <c:pt idx="3" c:formatCode="yyyy/m/d">
                  <c:v>43881</c:v>
                </c:pt>
                <c:pt idx="4" c:formatCode="yyyy/m/d">
                  <c:v>43882</c:v>
                </c:pt>
                <c:pt idx="5" c:formatCode="yyyy/m/d">
                  <c:v>43883</c:v>
                </c:pt>
                <c:pt idx="6" c:formatCode="yyyy/m/d">
                  <c:v>43884</c:v>
                </c:pt>
              </c:numCache>
            </c:numRef>
          </c:cat>
          <c:val>
            <c:numRef>
              <c:f>Sheet1!$D$58:$D$64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224871552"/>
        <c:axId val="22487347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6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8:$A$64</c:f>
              <c:numCache>
                <c:formatCode>yyyy/m/d</c:formatCode>
                <c:ptCount val="7"/>
                <c:pt idx="0" c:formatCode="yyyy/m/d">
                  <c:v>43878</c:v>
                </c:pt>
                <c:pt idx="1" c:formatCode="yyyy/m/d">
                  <c:v>43879</c:v>
                </c:pt>
                <c:pt idx="2" c:formatCode="yyyy/m/d">
                  <c:v>43880</c:v>
                </c:pt>
                <c:pt idx="3" c:formatCode="yyyy/m/d">
                  <c:v>43881</c:v>
                </c:pt>
                <c:pt idx="4" c:formatCode="yyyy/m/d">
                  <c:v>43882</c:v>
                </c:pt>
                <c:pt idx="5" c:formatCode="yyyy/m/d">
                  <c:v>43883</c:v>
                </c:pt>
                <c:pt idx="6" c:formatCode="yyyy/m/d">
                  <c:v>43884</c:v>
                </c:pt>
              </c:numCache>
            </c:numRef>
          </c:cat>
          <c:val>
            <c:numRef>
              <c:f>Sheet1!$E$58:$E$64</c:f>
              <c:numCache>
                <c:formatCode>0%</c:formatCode>
                <c:ptCount val="7"/>
                <c:pt idx="0">
                  <c:v>-0.130434782608696</c:v>
                </c:pt>
                <c:pt idx="1">
                  <c:v>0</c:v>
                </c:pt>
                <c:pt idx="2">
                  <c:v>0.0434782608695652</c:v>
                </c:pt>
                <c:pt idx="3">
                  <c:v>-0.0416666666666667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4905856"/>
        <c:axId val="224904320"/>
      </c:lineChart>
      <c:dateAx>
        <c:axId val="2248715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873472"/>
        <c:crosses val="autoZero"/>
        <c:auto val="1"/>
        <c:lblOffset val="100"/>
        <c:baseTimeUnit val="days"/>
      </c:dateAx>
      <c:valAx>
        <c:axId val="224873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871552"/>
        <c:crosses val="autoZero"/>
        <c:crossBetween val="between"/>
        <c:majorUnit val="1"/>
      </c:valAx>
      <c:dateAx>
        <c:axId val="224905856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904320"/>
        <c:crosses val="autoZero"/>
        <c:auto val="1"/>
        <c:lblOffset val="100"/>
        <c:baseTimeUnit val="days"/>
      </c:dateAx>
      <c:valAx>
        <c:axId val="224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9058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rPr>
              <a:t>User Activities-CW 07</a:t>
            </a:r>
            <a:endParaRPr lang="en-US" altLang="zh-CN" sz="1800" b="0" i="0" u="none" strike="noStrike" kern="1200" spc="0" baseline="0" dirty="0">
              <a:solidFill>
                <a:srgbClr val="000000">
                  <a:lumMod val="65000"/>
                  <a:lumOff val="35000"/>
                </a:srgbClr>
              </a:solidFill>
              <a:effectLst/>
              <a:latin typeface="+mn-lt"/>
              <a:ea typeface="+mn-ea"/>
              <a:cs typeface="+mn-cs"/>
            </a:endParaRPr>
          </a:p>
        </c:rich>
      </c:tx>
      <c:layout>
        <c:manualLayout>
          <c:xMode val="edge"/>
          <c:yMode val="edge"/>
          <c:x val="0.286007139259864"/>
          <c:y val="0.0144927536231884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5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1:$A$57</c:f>
              <c:numCache>
                <c:formatCode>yyyy/m/d</c:formatCode>
                <c:ptCount val="7"/>
                <c:pt idx="0" c:formatCode="yyyy/m/d">
                  <c:v>43871</c:v>
                </c:pt>
                <c:pt idx="1" c:formatCode="yyyy/m/d">
                  <c:v>43872</c:v>
                </c:pt>
                <c:pt idx="2" c:formatCode="yyyy/m/d">
                  <c:v>43873</c:v>
                </c:pt>
                <c:pt idx="3" c:formatCode="yyyy/m/d">
                  <c:v>43874</c:v>
                </c:pt>
                <c:pt idx="4" c:formatCode="yyyy/m/d">
                  <c:v>43875</c:v>
                </c:pt>
                <c:pt idx="5" c:formatCode="yyyy/m/d">
                  <c:v>43876</c:v>
                </c:pt>
                <c:pt idx="6" c:formatCode="yyyy/m/d">
                  <c:v>43877</c:v>
                </c:pt>
              </c:numCache>
            </c:numRef>
          </c:cat>
          <c:val>
            <c:numRef>
              <c:f>Sheet1!$B$51:$B$57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51:$A$57</c:f>
              <c:numCache>
                <c:formatCode>yyyy/m/d</c:formatCode>
                <c:ptCount val="7"/>
                <c:pt idx="0" c:formatCode="yyyy/m/d">
                  <c:v>43871</c:v>
                </c:pt>
                <c:pt idx="1" c:formatCode="yyyy/m/d">
                  <c:v>43872</c:v>
                </c:pt>
                <c:pt idx="2" c:formatCode="yyyy/m/d">
                  <c:v>43873</c:v>
                </c:pt>
                <c:pt idx="3" c:formatCode="yyyy/m/d">
                  <c:v>43874</c:v>
                </c:pt>
                <c:pt idx="4" c:formatCode="yyyy/m/d">
                  <c:v>43875</c:v>
                </c:pt>
                <c:pt idx="5" c:formatCode="yyyy/m/d">
                  <c:v>43876</c:v>
                </c:pt>
                <c:pt idx="6" c:formatCode="yyyy/m/d">
                  <c:v>43877</c:v>
                </c:pt>
              </c:numCache>
            </c:numRef>
          </c:cat>
          <c:val>
            <c:numRef>
              <c:f>Sheet1!$C$51:$C$57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</c:dPt>
          <c:dLbls>
            <c:delete val="1"/>
          </c:dLbls>
          <c:cat>
            <c:numRef>
              <c:f>Sheet1!$A$51:$A$57</c:f>
              <c:numCache>
                <c:formatCode>yyyy/m/d</c:formatCode>
                <c:ptCount val="7"/>
                <c:pt idx="0" c:formatCode="yyyy/m/d">
                  <c:v>43871</c:v>
                </c:pt>
                <c:pt idx="1" c:formatCode="yyyy/m/d">
                  <c:v>43872</c:v>
                </c:pt>
                <c:pt idx="2" c:formatCode="yyyy/m/d">
                  <c:v>43873</c:v>
                </c:pt>
                <c:pt idx="3" c:formatCode="yyyy/m/d">
                  <c:v>43874</c:v>
                </c:pt>
                <c:pt idx="4" c:formatCode="yyyy/m/d">
                  <c:v>43875</c:v>
                </c:pt>
                <c:pt idx="5" c:formatCode="yyyy/m/d">
                  <c:v>43876</c:v>
                </c:pt>
                <c:pt idx="6" c:formatCode="yyyy/m/d">
                  <c:v>43877</c:v>
                </c:pt>
              </c:numCache>
            </c:numRef>
          </c:cat>
          <c:val>
            <c:numRef>
              <c:f>Sheet1!$D$51:$D$57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224871552"/>
        <c:axId val="22487347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6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1:$A$57</c:f>
              <c:numCache>
                <c:formatCode>yyyy/m/d</c:formatCode>
                <c:ptCount val="7"/>
                <c:pt idx="0" c:formatCode="yyyy/m/d">
                  <c:v>43871</c:v>
                </c:pt>
                <c:pt idx="1" c:formatCode="yyyy/m/d">
                  <c:v>43872</c:v>
                </c:pt>
                <c:pt idx="2" c:formatCode="yyyy/m/d">
                  <c:v>43873</c:v>
                </c:pt>
                <c:pt idx="3" c:formatCode="yyyy/m/d">
                  <c:v>43874</c:v>
                </c:pt>
                <c:pt idx="4" c:formatCode="yyyy/m/d">
                  <c:v>43875</c:v>
                </c:pt>
                <c:pt idx="5" c:formatCode="yyyy/m/d">
                  <c:v>43876</c:v>
                </c:pt>
                <c:pt idx="6" c:formatCode="yyyy/m/d">
                  <c:v>43877</c:v>
                </c:pt>
              </c:numCache>
            </c:numRef>
          </c:cat>
          <c:val>
            <c:numRef>
              <c:f>Sheet1!$E$51:$E$57</c:f>
              <c:numCache>
                <c:formatCode>0%</c:formatCode>
                <c:ptCount val="7"/>
                <c:pt idx="0">
                  <c:v>0</c:v>
                </c:pt>
                <c:pt idx="1">
                  <c:v>0.0625</c:v>
                </c:pt>
                <c:pt idx="2">
                  <c:v>-0.0588235294117647</c:v>
                </c:pt>
                <c:pt idx="3">
                  <c:v>0</c:v>
                </c:pt>
                <c:pt idx="4">
                  <c:v>0.176470588235294</c:v>
                </c:pt>
                <c:pt idx="5">
                  <c:v>-0.15</c:v>
                </c:pt>
                <c:pt idx="6">
                  <c:v>0.1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4905856"/>
        <c:axId val="224904320"/>
      </c:lineChart>
      <c:dateAx>
        <c:axId val="2248715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873472"/>
        <c:crosses val="autoZero"/>
        <c:auto val="1"/>
        <c:lblOffset val="100"/>
        <c:baseTimeUnit val="days"/>
      </c:dateAx>
      <c:valAx>
        <c:axId val="224873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871552"/>
        <c:crosses val="autoZero"/>
        <c:crossBetween val="between"/>
        <c:majorUnit val="1"/>
      </c:valAx>
      <c:dateAx>
        <c:axId val="224905856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904320"/>
        <c:crosses val="autoZero"/>
        <c:auto val="1"/>
        <c:lblOffset val="100"/>
        <c:baseTimeUnit val="days"/>
      </c:dateAx>
      <c:valAx>
        <c:axId val="224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9058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>
                <a:solidFill>
                  <a:schemeClr val="bg1">
                    <a:lumMod val="50000"/>
                  </a:schemeClr>
                </a:solidFill>
              </a:rPr>
              <a:t>Weekly User Activities</a:t>
            </a:r>
            <a:endParaRPr lang="zh-CN" altLang="en-US" sz="1800" b="0" cap="none" baseline="0" dirty="0">
              <a:solidFill>
                <a:schemeClr val="bg1">
                  <a:lumMod val="50000"/>
                </a:schemeClr>
              </a:solidFill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688900759882756"/>
          <c:y val="0.0827558864585609"/>
          <c:w val="0.835663882708741"/>
          <c:h val="0.718784931295353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DiscoverMore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8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</c:strCache>
            </c:strRef>
          </c:cat>
          <c:val>
            <c:numRef>
              <c:f>Sheet1!$B$2:$B$47</c:f>
              <c:numCache>
                <c:formatCode>General</c:formatCode>
                <c:ptCount val="46"/>
                <c:pt idx="0">
                  <c:v>1</c:v>
                </c:pt>
                <c:pt idx="1">
                  <c:v>17</c:v>
                </c:pt>
                <c:pt idx="2">
                  <c:v>31</c:v>
                </c:pt>
                <c:pt idx="3">
                  <c:v>22</c:v>
                </c:pt>
                <c:pt idx="4">
                  <c:v>31</c:v>
                </c:pt>
                <c:pt idx="5">
                  <c:v>6</c:v>
                </c:pt>
                <c:pt idx="6">
                  <c:v>10</c:v>
                </c:pt>
                <c:pt idx="7">
                  <c:v>4</c:v>
                </c:pt>
                <c:pt idx="8">
                  <c:v>8</c:v>
                </c:pt>
                <c:pt idx="9">
                  <c:v>46</c:v>
                </c:pt>
                <c:pt idx="10">
                  <c:v>10</c:v>
                </c:pt>
                <c:pt idx="11">
                  <c:v>9</c:v>
                </c:pt>
                <c:pt idx="12">
                  <c:v>11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7</c:v>
                </c:pt>
                <c:pt idx="20">
                  <c:v>7</c:v>
                </c:pt>
                <c:pt idx="21">
                  <c:v>6</c:v>
                </c:pt>
                <c:pt idx="22">
                  <c:v>8</c:v>
                </c:pt>
                <c:pt idx="23">
                  <c:v>5</c:v>
                </c:pt>
                <c:pt idx="24">
                  <c:v>3</c:v>
                </c:pt>
                <c:pt idx="25">
                  <c:v>6</c:v>
                </c:pt>
                <c:pt idx="26">
                  <c:v>2</c:v>
                </c:pt>
                <c:pt idx="27">
                  <c:v>4</c:v>
                </c:pt>
                <c:pt idx="28">
                  <c:v>6</c:v>
                </c:pt>
                <c:pt idx="29">
                  <c:v>3</c:v>
                </c:pt>
                <c:pt idx="30">
                  <c:v>4</c:v>
                </c:pt>
                <c:pt idx="31">
                  <c:v>4</c:v>
                </c:pt>
                <c:pt idx="32">
                  <c:v>8</c:v>
                </c:pt>
                <c:pt idx="33">
                  <c:v>2</c:v>
                </c:pt>
                <c:pt idx="34">
                  <c:v>5</c:v>
                </c:pt>
                <c:pt idx="35">
                  <c:v>0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3</c:v>
                </c:pt>
                <c:pt idx="40">
                  <c:v>1</c:v>
                </c:pt>
                <c:pt idx="41">
                  <c:v>3</c:v>
                </c:pt>
                <c:pt idx="42">
                  <c:v>4</c:v>
                </c:pt>
                <c:pt idx="43">
                  <c:v>0</c:v>
                </c:pt>
                <c:pt idx="44">
                  <c:v>3</c:v>
                </c:pt>
                <c:pt idx="45">
                  <c:v>1</c:v>
                </c:pt>
              </c:numCache>
            </c:numRef>
          </c:val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</c:dPt>
          <c:dLbls>
            <c:dLbl>
              <c:idx val="10"/>
              <c:delete val="1"/>
            </c:dLbl>
            <c:dLbl>
              <c:idx val="11"/>
              <c:delete val="1"/>
            </c:dLbl>
            <c:dLbl>
              <c:idx val="12"/>
              <c:delete val="1"/>
            </c:dLbl>
            <c:dLbl>
              <c:idx val="13"/>
              <c:delete val="1"/>
            </c:dLbl>
            <c:dLbl>
              <c:idx val="14"/>
              <c:delete val="1"/>
            </c:dLbl>
            <c:dLbl>
              <c:idx val="15"/>
              <c:delete val="1"/>
            </c:dLbl>
            <c:dLbl>
              <c:idx val="16"/>
              <c:delete val="1"/>
            </c:dLbl>
            <c:dLbl>
              <c:idx val="17"/>
              <c:delete val="1"/>
            </c:dLbl>
            <c:dLbl>
              <c:idx val="18"/>
              <c:delete val="1"/>
            </c:dLbl>
            <c:dLbl>
              <c:idx val="19"/>
              <c:delete val="1"/>
            </c:dLbl>
            <c:dLbl>
              <c:idx val="21"/>
              <c:delete val="1"/>
            </c:dLbl>
            <c:dLbl>
              <c:idx val="22"/>
              <c:delete val="1"/>
            </c:dLbl>
            <c:dLbl>
              <c:idx val="23"/>
              <c:delete val="1"/>
            </c:dLbl>
            <c:dLbl>
              <c:idx val="27"/>
              <c:delete val="1"/>
            </c:dLbl>
            <c:dLbl>
              <c:idx val="28"/>
              <c:delete val="1"/>
            </c:dLbl>
            <c:dLbl>
              <c:idx val="30"/>
              <c:delete val="1"/>
            </c:dLbl>
            <c:dLbl>
              <c:idx val="31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</c:strCache>
            </c:strRef>
          </c:cat>
          <c:val>
            <c:numRef>
              <c:f>Sheet1!$C$2:$C$47</c:f>
              <c:numCache>
                <c:formatCode>General</c:formatCode>
                <c:ptCount val="46"/>
                <c:pt idx="0">
                  <c:v>2</c:v>
                </c:pt>
                <c:pt idx="1">
                  <c:v>10</c:v>
                </c:pt>
                <c:pt idx="2">
                  <c:v>2</c:v>
                </c:pt>
                <c:pt idx="3">
                  <c:v>4</c:v>
                </c:pt>
                <c:pt idx="4">
                  <c:v>9</c:v>
                </c:pt>
                <c:pt idx="5">
                  <c:v>7</c:v>
                </c:pt>
                <c:pt idx="6">
                  <c:v>41</c:v>
                </c:pt>
                <c:pt idx="7">
                  <c:v>6</c:v>
                </c:pt>
                <c:pt idx="8">
                  <c:v>1</c:v>
                </c:pt>
                <c:pt idx="9">
                  <c:v>7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2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1</c:v>
                </c:pt>
                <c:pt idx="45">
                  <c:v>0</c:v>
                </c:pt>
              </c:numCache>
            </c:numRef>
          </c:val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Lbl>
              <c:idx val="11"/>
              <c:delete val="1"/>
            </c:dLbl>
            <c:dLbl>
              <c:idx val="13"/>
              <c:delete val="1"/>
            </c:dLbl>
            <c:dLbl>
              <c:idx val="14"/>
              <c:delete val="1"/>
            </c:dLbl>
            <c:dLbl>
              <c:idx val="15"/>
              <c:delete val="1"/>
            </c:dLbl>
            <c:dLbl>
              <c:idx val="17"/>
              <c:delete val="1"/>
            </c:dLbl>
            <c:dLbl>
              <c:idx val="18"/>
              <c:delete val="1"/>
            </c:dLbl>
            <c:dLbl>
              <c:idx val="21"/>
              <c:delete val="1"/>
            </c:dLbl>
            <c:dLbl>
              <c:idx val="31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</c:strCache>
            </c:strRef>
          </c:cat>
          <c:val>
            <c:numRef>
              <c:f>Sheet1!$D$2:$D$47</c:f>
              <c:numCache>
                <c:formatCode>General</c:formatCode>
                <c:ptCount val="46"/>
                <c:pt idx="0">
                  <c:v>1</c:v>
                </c:pt>
                <c:pt idx="1">
                  <c:v>12</c:v>
                </c:pt>
                <c:pt idx="2">
                  <c:v>2</c:v>
                </c:pt>
                <c:pt idx="3">
                  <c:v>7</c:v>
                </c:pt>
                <c:pt idx="4">
                  <c:v>5</c:v>
                </c:pt>
                <c:pt idx="5">
                  <c:v>10</c:v>
                </c:pt>
                <c:pt idx="6">
                  <c:v>13</c:v>
                </c:pt>
                <c:pt idx="7">
                  <c:v>8</c:v>
                </c:pt>
                <c:pt idx="8">
                  <c:v>1</c:v>
                </c:pt>
                <c:pt idx="9">
                  <c:v>25</c:v>
                </c:pt>
                <c:pt idx="10">
                  <c:v>2</c:v>
                </c:pt>
                <c:pt idx="11">
                  <c:v>0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4</c:v>
                </c:pt>
                <c:pt idx="20">
                  <c:v>2</c:v>
                </c:pt>
                <c:pt idx="21">
                  <c:v>0</c:v>
                </c:pt>
                <c:pt idx="22">
                  <c:v>5</c:v>
                </c:pt>
                <c:pt idx="23">
                  <c:v>1</c:v>
                </c:pt>
                <c:pt idx="24">
                  <c:v>2</c:v>
                </c:pt>
                <c:pt idx="25">
                  <c:v>1</c:v>
                </c:pt>
                <c:pt idx="26">
                  <c:v>2</c:v>
                </c:pt>
                <c:pt idx="27">
                  <c:v>1</c:v>
                </c:pt>
                <c:pt idx="28">
                  <c:v>1</c:v>
                </c:pt>
                <c:pt idx="29">
                  <c:v>2</c:v>
                </c:pt>
                <c:pt idx="30">
                  <c:v>1</c:v>
                </c:pt>
                <c:pt idx="31">
                  <c:v>0</c:v>
                </c:pt>
                <c:pt idx="32">
                  <c:v>1</c:v>
                </c:pt>
                <c:pt idx="33">
                  <c:v>1</c:v>
                </c:pt>
                <c:pt idx="34">
                  <c:v>3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2</c:v>
                </c:pt>
                <c:pt idx="42">
                  <c:v>0</c:v>
                </c:pt>
                <c:pt idx="43">
                  <c:v>0</c:v>
                </c:pt>
                <c:pt idx="44">
                  <c:v>3</c:v>
                </c:pt>
                <c:pt idx="45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56179200"/>
        <c:axId val="256193664"/>
      </c:barChart>
      <c:lineChart>
        <c:grouping val="standard"/>
        <c:varyColors val="0"/>
        <c:ser>
          <c:idx val="4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</c:strCache>
            </c:strRef>
          </c:cat>
          <c:val>
            <c:numRef>
              <c:f>Sheet1!$E$2:$E$47</c:f>
              <c:numCache>
                <c:formatCode>0.00%</c:formatCode>
                <c:ptCount val="46"/>
                <c:pt idx="0">
                  <c:v>1</c:v>
                </c:pt>
                <c:pt idx="1">
                  <c:v>9.75</c:v>
                </c:pt>
                <c:pt idx="2">
                  <c:v>0.813953488372093</c:v>
                </c:pt>
                <c:pt idx="3">
                  <c:v>0.423076923076923</c:v>
                </c:pt>
                <c:pt idx="4">
                  <c:v>0.405405405405405</c:v>
                </c:pt>
                <c:pt idx="5">
                  <c:v>0.147435897435897</c:v>
                </c:pt>
                <c:pt idx="6">
                  <c:v>0.357541899441341</c:v>
                </c:pt>
                <c:pt idx="7">
                  <c:v>0.0740740740740741</c:v>
                </c:pt>
                <c:pt idx="8">
                  <c:v>0.0383141762452107</c:v>
                </c:pt>
                <c:pt idx="9">
                  <c:v>0.287822878228782</c:v>
                </c:pt>
                <c:pt idx="10">
                  <c:v>0.0372492836676218</c:v>
                </c:pt>
                <c:pt idx="11">
                  <c:v>0.0248618784530387</c:v>
                </c:pt>
                <c:pt idx="12">
                  <c:v>0.032345013477089</c:v>
                </c:pt>
                <c:pt idx="13">
                  <c:v>0.0156657963446475</c:v>
                </c:pt>
                <c:pt idx="14">
                  <c:v>0.0102827763496144</c:v>
                </c:pt>
                <c:pt idx="15">
                  <c:v>0.00763358778625954</c:v>
                </c:pt>
                <c:pt idx="16">
                  <c:v>0.00757575757575758</c:v>
                </c:pt>
                <c:pt idx="17">
                  <c:v>0.0050125313283208</c:v>
                </c:pt>
                <c:pt idx="18">
                  <c:v>0.00249376558603491</c:v>
                </c:pt>
                <c:pt idx="19">
                  <c:v>0.027363184079602</c:v>
                </c:pt>
                <c:pt idx="20">
                  <c:v>0.026634382566586</c:v>
                </c:pt>
                <c:pt idx="21">
                  <c:v>0.0141509433962264</c:v>
                </c:pt>
                <c:pt idx="22">
                  <c:v>0.0302325581395349</c:v>
                </c:pt>
                <c:pt idx="23">
                  <c:v>0.0135440180586907</c:v>
                </c:pt>
                <c:pt idx="24">
                  <c:v>0.0133630289532294</c:v>
                </c:pt>
                <c:pt idx="25">
                  <c:v>0.0175824175824176</c:v>
                </c:pt>
                <c:pt idx="26">
                  <c:v>0.0107991360691145</c:v>
                </c:pt>
                <c:pt idx="27">
                  <c:v>0.0106837606837607</c:v>
                </c:pt>
                <c:pt idx="28">
                  <c:v>0.0147991543340381</c:v>
                </c:pt>
                <c:pt idx="29">
                  <c:v>0.0125</c:v>
                </c:pt>
                <c:pt idx="30">
                  <c:v>0.0102880658436214</c:v>
                </c:pt>
                <c:pt idx="31">
                  <c:v>0.00814663951120163</c:v>
                </c:pt>
                <c:pt idx="32">
                  <c:v>0.0181818181818182</c:v>
                </c:pt>
                <c:pt idx="33">
                  <c:v>0.00595238095238095</c:v>
                </c:pt>
                <c:pt idx="34">
                  <c:v>0.0177514792899408</c:v>
                </c:pt>
                <c:pt idx="35">
                  <c:v>0.00387596899224806</c:v>
                </c:pt>
                <c:pt idx="36">
                  <c:v>0.00193050193050193</c:v>
                </c:pt>
                <c:pt idx="37">
                  <c:v>0.00192678227360308</c:v>
                </c:pt>
                <c:pt idx="38">
                  <c:v>0.00192307692307692</c:v>
                </c:pt>
                <c:pt idx="39">
                  <c:v>0.00575815738963532</c:v>
                </c:pt>
                <c:pt idx="40">
                  <c:v>0.00190839694656489</c:v>
                </c:pt>
                <c:pt idx="41">
                  <c:v>0.0114285714285714</c:v>
                </c:pt>
                <c:pt idx="42">
                  <c:v>0.00753295668549906</c:v>
                </c:pt>
                <c:pt idx="43">
                  <c:v>0</c:v>
                </c:pt>
                <c:pt idx="44">
                  <c:v>0.0130841121495327</c:v>
                </c:pt>
                <c:pt idx="45">
                  <c:v>0.0018450184501845</c:v>
                </c:pt>
              </c:numCache>
            </c:numRef>
          </c:val>
          <c:smooth val="0"/>
        </c:ser>
        <c:ser>
          <c:idx val="0"/>
          <c:order val="4"/>
          <c:tx>
            <c:strRef>
              <c:f>Sheet1!$F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</c:strCache>
            </c:strRef>
          </c:cat>
          <c:val>
            <c:numRef>
              <c:f>Sheet1!$F$2:$F$47</c:f>
              <c:numCache>
                <c:formatCode>0.00%</c:formatCode>
                <c:ptCount val="46"/>
                <c:pt idx="0">
                  <c:v>0</c:v>
                </c:pt>
                <c:pt idx="1">
                  <c:v>8.75</c:v>
                </c:pt>
                <c:pt idx="2">
                  <c:v>-0.265354800238521</c:v>
                </c:pt>
                <c:pt idx="3">
                  <c:v>-0.0571428571428571</c:v>
                </c:pt>
                <c:pt idx="4">
                  <c:v>0.363636363636364</c:v>
                </c:pt>
                <c:pt idx="5">
                  <c:v>-0.488888888888889</c:v>
                </c:pt>
                <c:pt idx="6">
                  <c:v>1.78260869565217</c:v>
                </c:pt>
                <c:pt idx="7">
                  <c:v>-0.71875</c:v>
                </c:pt>
                <c:pt idx="8">
                  <c:v>-0.444444444444444</c:v>
                </c:pt>
                <c:pt idx="9">
                  <c:v>6.8</c:v>
                </c:pt>
                <c:pt idx="10">
                  <c:v>-0.833333333333333</c:v>
                </c:pt>
                <c:pt idx="11">
                  <c:v>-0.307692307692308</c:v>
                </c:pt>
                <c:pt idx="12">
                  <c:v>0.333333333333333</c:v>
                </c:pt>
                <c:pt idx="13">
                  <c:v>-0.5</c:v>
                </c:pt>
                <c:pt idx="14">
                  <c:v>-0.333333333333333</c:v>
                </c:pt>
                <c:pt idx="15">
                  <c:v>-0.25</c:v>
                </c:pt>
                <c:pt idx="16">
                  <c:v>0</c:v>
                </c:pt>
                <c:pt idx="17">
                  <c:v>-0.333333333333333</c:v>
                </c:pt>
                <c:pt idx="18">
                  <c:v>-0.5</c:v>
                </c:pt>
                <c:pt idx="19">
                  <c:v>10</c:v>
                </c:pt>
                <c:pt idx="20">
                  <c:v>0</c:v>
                </c:pt>
                <c:pt idx="21">
                  <c:v>-0.454545454545455</c:v>
                </c:pt>
                <c:pt idx="22">
                  <c:v>1.16666666666667</c:v>
                </c:pt>
                <c:pt idx="23">
                  <c:v>-0.538461538461538</c:v>
                </c:pt>
                <c:pt idx="24">
                  <c:v>0</c:v>
                </c:pt>
                <c:pt idx="25">
                  <c:v>0.333333333333333</c:v>
                </c:pt>
                <c:pt idx="26">
                  <c:v>-0.375</c:v>
                </c:pt>
                <c:pt idx="27">
                  <c:v>0</c:v>
                </c:pt>
                <c:pt idx="28">
                  <c:v>0.4</c:v>
                </c:pt>
                <c:pt idx="29">
                  <c:v>-0.142857142857143</c:v>
                </c:pt>
                <c:pt idx="30">
                  <c:v>-0.166666666666667</c:v>
                </c:pt>
                <c:pt idx="31">
                  <c:v>-0.2</c:v>
                </c:pt>
                <c:pt idx="32">
                  <c:v>1.25</c:v>
                </c:pt>
                <c:pt idx="33">
                  <c:v>-0.666666666666667</c:v>
                </c:pt>
                <c:pt idx="34">
                  <c:v>2</c:v>
                </c:pt>
                <c:pt idx="35">
                  <c:v>-0.777777777777778</c:v>
                </c:pt>
                <c:pt idx="36">
                  <c:v>-0.5</c:v>
                </c:pt>
                <c:pt idx="37">
                  <c:v>0</c:v>
                </c:pt>
                <c:pt idx="38">
                  <c:v>0</c:v>
                </c:pt>
                <c:pt idx="39">
                  <c:v>2</c:v>
                </c:pt>
                <c:pt idx="40">
                  <c:v>-0.666666666666667</c:v>
                </c:pt>
                <c:pt idx="41">
                  <c:v>5</c:v>
                </c:pt>
                <c:pt idx="42">
                  <c:v>-0.333333333333333</c:v>
                </c:pt>
                <c:pt idx="43">
                  <c:v>-1</c:v>
                </c:pt>
                <c:pt idx="44">
                  <c:v>0</c:v>
                </c:pt>
                <c:pt idx="45">
                  <c:v>-0.85714285714285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56205568"/>
        <c:axId val="256195584"/>
      </c:lineChart>
      <c:catAx>
        <c:axId val="25617920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193664"/>
        <c:crosses val="autoZero"/>
        <c:auto val="1"/>
        <c:lblAlgn val="ctr"/>
        <c:lblOffset val="100"/>
        <c:noMultiLvlLbl val="0"/>
      </c:catAx>
      <c:valAx>
        <c:axId val="25619366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179200"/>
        <c:crosses val="autoZero"/>
        <c:crossBetween val="between"/>
      </c:valAx>
      <c:catAx>
        <c:axId val="2562055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195584"/>
        <c:crosses val="autoZero"/>
        <c:auto val="1"/>
        <c:lblAlgn val="ctr"/>
        <c:lblOffset val="100"/>
        <c:noMultiLvlLbl val="0"/>
      </c:catAx>
      <c:valAx>
        <c:axId val="256195584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20556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8C8C8C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User Activities </a:t>
            </a:r>
            <a:endParaRPr lang="en-US" sz="18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32705445270045"/>
          <c:y val="0.131098544500119"/>
          <c:w val="0.790082067206388"/>
          <c:h val="0.5608806967310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</c:strCache>
            </c:strRef>
          </c:cat>
          <c:val>
            <c:numRef>
              <c:f>Sheet1!$B$2:$B$47</c:f>
              <c:numCache>
                <c:formatCode>General</c:formatCode>
                <c:ptCount val="46"/>
                <c:pt idx="0">
                  <c:v>1</c:v>
                </c:pt>
                <c:pt idx="1">
                  <c:v>17</c:v>
                </c:pt>
                <c:pt idx="2">
                  <c:v>31</c:v>
                </c:pt>
                <c:pt idx="3">
                  <c:v>22</c:v>
                </c:pt>
                <c:pt idx="4">
                  <c:v>31</c:v>
                </c:pt>
                <c:pt idx="5">
                  <c:v>6</c:v>
                </c:pt>
                <c:pt idx="6">
                  <c:v>10</c:v>
                </c:pt>
                <c:pt idx="7">
                  <c:v>4</c:v>
                </c:pt>
                <c:pt idx="8">
                  <c:v>8</c:v>
                </c:pt>
                <c:pt idx="9">
                  <c:v>46</c:v>
                </c:pt>
                <c:pt idx="10">
                  <c:v>10</c:v>
                </c:pt>
                <c:pt idx="11">
                  <c:v>9</c:v>
                </c:pt>
                <c:pt idx="12">
                  <c:v>11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8</c:v>
                </c:pt>
                <c:pt idx="20">
                  <c:v>7</c:v>
                </c:pt>
                <c:pt idx="21">
                  <c:v>6</c:v>
                </c:pt>
                <c:pt idx="22">
                  <c:v>8</c:v>
                </c:pt>
                <c:pt idx="23">
                  <c:v>5</c:v>
                </c:pt>
                <c:pt idx="24">
                  <c:v>3</c:v>
                </c:pt>
                <c:pt idx="25">
                  <c:v>6</c:v>
                </c:pt>
                <c:pt idx="26">
                  <c:v>2</c:v>
                </c:pt>
                <c:pt idx="27">
                  <c:v>4</c:v>
                </c:pt>
                <c:pt idx="28">
                  <c:v>6</c:v>
                </c:pt>
                <c:pt idx="29">
                  <c:v>3</c:v>
                </c:pt>
                <c:pt idx="30">
                  <c:v>4</c:v>
                </c:pt>
                <c:pt idx="31">
                  <c:v>4</c:v>
                </c:pt>
                <c:pt idx="32">
                  <c:v>8</c:v>
                </c:pt>
                <c:pt idx="33">
                  <c:v>2</c:v>
                </c:pt>
                <c:pt idx="34">
                  <c:v>5</c:v>
                </c:pt>
                <c:pt idx="35">
                  <c:v>0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3</c:v>
                </c:pt>
                <c:pt idx="40">
                  <c:v>1</c:v>
                </c:pt>
                <c:pt idx="41">
                  <c:v>3</c:v>
                </c:pt>
                <c:pt idx="42">
                  <c:v>4</c:v>
                </c:pt>
                <c:pt idx="43">
                  <c:v>0</c:v>
                </c:pt>
                <c:pt idx="44">
                  <c:v>3</c:v>
                </c:pt>
                <c:pt idx="45">
                  <c:v>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</c:strCache>
            </c:strRef>
          </c:cat>
          <c:val>
            <c:numRef>
              <c:f>Sheet1!$C$2:$C$47</c:f>
              <c:numCache>
                <c:formatCode>General</c:formatCode>
                <c:ptCount val="46"/>
                <c:pt idx="0">
                  <c:v>2</c:v>
                </c:pt>
                <c:pt idx="1">
                  <c:v>10</c:v>
                </c:pt>
                <c:pt idx="2">
                  <c:v>2</c:v>
                </c:pt>
                <c:pt idx="3">
                  <c:v>4</c:v>
                </c:pt>
                <c:pt idx="4">
                  <c:v>9</c:v>
                </c:pt>
                <c:pt idx="5">
                  <c:v>7</c:v>
                </c:pt>
                <c:pt idx="6">
                  <c:v>41</c:v>
                </c:pt>
                <c:pt idx="7">
                  <c:v>6</c:v>
                </c:pt>
                <c:pt idx="8">
                  <c:v>1</c:v>
                </c:pt>
                <c:pt idx="9">
                  <c:v>7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2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1</c:v>
                </c:pt>
                <c:pt idx="45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</c:strCache>
            </c:strRef>
          </c:cat>
          <c:val>
            <c:numRef>
              <c:f>Sheet1!$D$2:$D$47</c:f>
              <c:numCache>
                <c:formatCode>General</c:formatCode>
                <c:ptCount val="46"/>
                <c:pt idx="0">
                  <c:v>1</c:v>
                </c:pt>
                <c:pt idx="1">
                  <c:v>12</c:v>
                </c:pt>
                <c:pt idx="2">
                  <c:v>2</c:v>
                </c:pt>
                <c:pt idx="3">
                  <c:v>7</c:v>
                </c:pt>
                <c:pt idx="4">
                  <c:v>5</c:v>
                </c:pt>
                <c:pt idx="5">
                  <c:v>10</c:v>
                </c:pt>
                <c:pt idx="6">
                  <c:v>13</c:v>
                </c:pt>
                <c:pt idx="7">
                  <c:v>8</c:v>
                </c:pt>
                <c:pt idx="8">
                  <c:v>1</c:v>
                </c:pt>
                <c:pt idx="9">
                  <c:v>25</c:v>
                </c:pt>
                <c:pt idx="10">
                  <c:v>2</c:v>
                </c:pt>
                <c:pt idx="11">
                  <c:v>0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4</c:v>
                </c:pt>
                <c:pt idx="20">
                  <c:v>2</c:v>
                </c:pt>
                <c:pt idx="21">
                  <c:v>0</c:v>
                </c:pt>
                <c:pt idx="22">
                  <c:v>5</c:v>
                </c:pt>
                <c:pt idx="23">
                  <c:v>1</c:v>
                </c:pt>
                <c:pt idx="24">
                  <c:v>2</c:v>
                </c:pt>
                <c:pt idx="25">
                  <c:v>1</c:v>
                </c:pt>
                <c:pt idx="26">
                  <c:v>2</c:v>
                </c:pt>
                <c:pt idx="27">
                  <c:v>1</c:v>
                </c:pt>
                <c:pt idx="28">
                  <c:v>1</c:v>
                </c:pt>
                <c:pt idx="29">
                  <c:v>2</c:v>
                </c:pt>
                <c:pt idx="30">
                  <c:v>1</c:v>
                </c:pt>
                <c:pt idx="31">
                  <c:v>0</c:v>
                </c:pt>
                <c:pt idx="32">
                  <c:v>1</c:v>
                </c:pt>
                <c:pt idx="33">
                  <c:v>1</c:v>
                </c:pt>
                <c:pt idx="34">
                  <c:v>3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2</c:v>
                </c:pt>
                <c:pt idx="42">
                  <c:v>0</c:v>
                </c:pt>
                <c:pt idx="43">
                  <c:v>0</c:v>
                </c:pt>
                <c:pt idx="44">
                  <c:v>3</c:v>
                </c:pt>
                <c:pt idx="45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56557056"/>
        <c:axId val="25656051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Average Weekly User Activiti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</c:strCache>
            </c:strRef>
          </c:cat>
          <c:val>
            <c:numRef>
              <c:f>Sheet1!$E$2:$E$47</c:f>
              <c:numCache>
                <c:formatCode>0</c:formatCode>
                <c:ptCount val="46"/>
                <c:pt idx="0">
                  <c:v>4</c:v>
                </c:pt>
                <c:pt idx="1">
                  <c:v>21.5</c:v>
                </c:pt>
                <c:pt idx="2">
                  <c:v>26</c:v>
                </c:pt>
                <c:pt idx="3">
                  <c:v>27.75</c:v>
                </c:pt>
                <c:pt idx="4">
                  <c:v>31.2</c:v>
                </c:pt>
                <c:pt idx="5">
                  <c:v>29.8333333333333</c:v>
                </c:pt>
                <c:pt idx="6">
                  <c:v>34.7142857142857</c:v>
                </c:pt>
                <c:pt idx="7">
                  <c:v>32.625</c:v>
                </c:pt>
                <c:pt idx="8">
                  <c:v>30.1111111111111</c:v>
                </c:pt>
                <c:pt idx="9">
                  <c:v>34.9</c:v>
                </c:pt>
                <c:pt idx="10">
                  <c:v>32.9090909090909</c:v>
                </c:pt>
                <c:pt idx="11">
                  <c:v>30.9166666666667</c:v>
                </c:pt>
                <c:pt idx="12">
                  <c:v>29.4615384615385</c:v>
                </c:pt>
                <c:pt idx="13">
                  <c:v>27.7857142857143</c:v>
                </c:pt>
                <c:pt idx="14">
                  <c:v>26.2</c:v>
                </c:pt>
                <c:pt idx="15">
                  <c:v>24.75</c:v>
                </c:pt>
                <c:pt idx="16">
                  <c:v>23.4705882352941</c:v>
                </c:pt>
                <c:pt idx="17">
                  <c:v>22.2777777777778</c:v>
                </c:pt>
                <c:pt idx="18">
                  <c:v>21.1578947368421</c:v>
                </c:pt>
                <c:pt idx="19">
                  <c:v>20.7</c:v>
                </c:pt>
                <c:pt idx="20">
                  <c:v>20.2380952380952</c:v>
                </c:pt>
                <c:pt idx="21">
                  <c:v>19.5909090909091</c:v>
                </c:pt>
                <c:pt idx="22">
                  <c:v>19.304347826087</c:v>
                </c:pt>
                <c:pt idx="23">
                  <c:v>18.75</c:v>
                </c:pt>
                <c:pt idx="24">
                  <c:v>18.24</c:v>
                </c:pt>
                <c:pt idx="25">
                  <c:v>17.8461538461538</c:v>
                </c:pt>
                <c:pt idx="26">
                  <c:v>17.3703703703704</c:v>
                </c:pt>
                <c:pt idx="27">
                  <c:v>16.9285714285714</c:v>
                </c:pt>
                <c:pt idx="28">
                  <c:v>16.5862068965517</c:v>
                </c:pt>
                <c:pt idx="29">
                  <c:v>16.2333333333333</c:v>
                </c:pt>
                <c:pt idx="30">
                  <c:v>15.8709677419355</c:v>
                </c:pt>
                <c:pt idx="31">
                  <c:v>15.5</c:v>
                </c:pt>
                <c:pt idx="32">
                  <c:v>15.3030303030303</c:v>
                </c:pt>
                <c:pt idx="33">
                  <c:v>14.9411764705882</c:v>
                </c:pt>
                <c:pt idx="34">
                  <c:v>14.7714285714286</c:v>
                </c:pt>
                <c:pt idx="35">
                  <c:v>14.3888888888889</c:v>
                </c:pt>
                <c:pt idx="36">
                  <c:v>14.027027027027</c:v>
                </c:pt>
                <c:pt idx="37">
                  <c:v>13.6842105263158</c:v>
                </c:pt>
                <c:pt idx="38">
                  <c:v>13.3589743589744</c:v>
                </c:pt>
                <c:pt idx="39">
                  <c:v>13.1</c:v>
                </c:pt>
                <c:pt idx="40">
                  <c:v>12.8048780487805</c:v>
                </c:pt>
                <c:pt idx="41">
                  <c:v>12.6428571428571</c:v>
                </c:pt>
                <c:pt idx="42">
                  <c:v>12.4418604651163</c:v>
                </c:pt>
                <c:pt idx="43">
                  <c:v>12.1590909090909</c:v>
                </c:pt>
                <c:pt idx="44">
                  <c:v>12.0444444444444</c:v>
                </c:pt>
                <c:pt idx="45">
                  <c:v>11.80434782608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0727552"/>
        <c:axId val="260716032"/>
      </c:lineChart>
      <c:dateAx>
        <c:axId val="25655705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>
            <c:manualLayout>
              <c:xMode val="edge"/>
              <c:yMode val="edge"/>
              <c:x val="0.352734649366012"/>
              <c:y val="0.760680028632784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560512"/>
        <c:crosses val="autoZero"/>
        <c:auto val="0"/>
        <c:lblAlgn val="ctr"/>
        <c:lblOffset val="100"/>
        <c:baseTimeUnit val="days"/>
      </c:dateAx>
      <c:valAx>
        <c:axId val="2565605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557056"/>
        <c:crosses val="autoZero"/>
        <c:crossBetween val="between"/>
      </c:valAx>
      <c:catAx>
        <c:axId val="2607275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0716032"/>
        <c:crosses val="autoZero"/>
        <c:auto val="1"/>
        <c:lblAlgn val="ctr"/>
        <c:lblOffset val="100"/>
        <c:noMultiLvlLbl val="0"/>
      </c:catAx>
      <c:valAx>
        <c:axId val="260716032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072755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17164877117633"/>
          <c:w val="1"/>
          <c:h val="0.16465330470054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  <a:latin typeface="+mn-lt"/>
              </a:rPr>
              <a:t>Average Daily User Activities</a:t>
            </a:r>
            <a:endParaRPr lang="zh-CN" altLang="zh-CN" sz="2000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Average Daily  Discover More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</c:strCache>
            </c:strRef>
          </c:cat>
          <c:val>
            <c:numRef>
              <c:f>Sheet1!$E$2:$E$47</c:f>
              <c:numCache>
                <c:formatCode>0.0</c:formatCode>
                <c:ptCount val="46"/>
                <c:pt idx="0">
                  <c:v>0.5</c:v>
                </c:pt>
                <c:pt idx="1">
                  <c:v>2.42857142857143</c:v>
                </c:pt>
                <c:pt idx="2">
                  <c:v>4.42857142857143</c:v>
                </c:pt>
                <c:pt idx="3">
                  <c:v>3.14285714285714</c:v>
                </c:pt>
                <c:pt idx="4">
                  <c:v>4.42857142857143</c:v>
                </c:pt>
                <c:pt idx="5">
                  <c:v>0.857142857142857</c:v>
                </c:pt>
                <c:pt idx="6">
                  <c:v>1.42857142857143</c:v>
                </c:pt>
                <c:pt idx="7">
                  <c:v>0.571428571428571</c:v>
                </c:pt>
                <c:pt idx="8">
                  <c:v>1.14285714285714</c:v>
                </c:pt>
                <c:pt idx="9">
                  <c:v>6.57142857142857</c:v>
                </c:pt>
                <c:pt idx="10">
                  <c:v>1.42857142857143</c:v>
                </c:pt>
                <c:pt idx="11">
                  <c:v>1.28571428571429</c:v>
                </c:pt>
                <c:pt idx="12">
                  <c:v>1.57142857142857</c:v>
                </c:pt>
                <c:pt idx="13">
                  <c:v>0.714285714285714</c:v>
                </c:pt>
                <c:pt idx="14">
                  <c:v>0.571428571428571</c:v>
                </c:pt>
                <c:pt idx="15">
                  <c:v>0.428571428571429</c:v>
                </c:pt>
                <c:pt idx="16">
                  <c:v>0.285714285714286</c:v>
                </c:pt>
                <c:pt idx="17">
                  <c:v>0.285714285714286</c:v>
                </c:pt>
                <c:pt idx="18">
                  <c:v>0.142857142857143</c:v>
                </c:pt>
                <c:pt idx="19">
                  <c:v>1.14285714285714</c:v>
                </c:pt>
                <c:pt idx="20">
                  <c:v>1</c:v>
                </c:pt>
                <c:pt idx="21">
                  <c:v>0.857142857142857</c:v>
                </c:pt>
                <c:pt idx="22">
                  <c:v>1.14285714285714</c:v>
                </c:pt>
                <c:pt idx="23">
                  <c:v>0.714285714285714</c:v>
                </c:pt>
                <c:pt idx="24">
                  <c:v>0.428571428571429</c:v>
                </c:pt>
                <c:pt idx="25">
                  <c:v>0.857142857142857</c:v>
                </c:pt>
                <c:pt idx="26">
                  <c:v>0.285714285714286</c:v>
                </c:pt>
                <c:pt idx="27">
                  <c:v>0.571428571428571</c:v>
                </c:pt>
                <c:pt idx="28">
                  <c:v>0.857142857142857</c:v>
                </c:pt>
                <c:pt idx="29">
                  <c:v>0.428571428571429</c:v>
                </c:pt>
                <c:pt idx="30">
                  <c:v>0.571428571428571</c:v>
                </c:pt>
                <c:pt idx="31">
                  <c:v>0.571428571428571</c:v>
                </c:pt>
                <c:pt idx="32">
                  <c:v>1.14285714285714</c:v>
                </c:pt>
                <c:pt idx="33">
                  <c:v>0.285714285714286</c:v>
                </c:pt>
                <c:pt idx="34">
                  <c:v>0.714285714285714</c:v>
                </c:pt>
                <c:pt idx="35">
                  <c:v>0</c:v>
                </c:pt>
                <c:pt idx="36">
                  <c:v>0.142857142857143</c:v>
                </c:pt>
                <c:pt idx="37">
                  <c:v>0.142857142857143</c:v>
                </c:pt>
                <c:pt idx="38">
                  <c:v>0.142857142857143</c:v>
                </c:pt>
                <c:pt idx="39">
                  <c:v>0.428571428571429</c:v>
                </c:pt>
                <c:pt idx="40">
                  <c:v>0.142857142857143</c:v>
                </c:pt>
                <c:pt idx="41">
                  <c:v>0.428571428571429</c:v>
                </c:pt>
                <c:pt idx="42">
                  <c:v>0.571428571428571</c:v>
                </c:pt>
                <c:pt idx="43">
                  <c:v>0</c:v>
                </c:pt>
                <c:pt idx="44">
                  <c:v>0.428571428571429</c:v>
                </c:pt>
                <c:pt idx="45">
                  <c:v>0.142857142857143</c:v>
                </c:pt>
              </c:numCache>
            </c:numRef>
          </c:val>
        </c:ser>
        <c:ser>
          <c:idx val="1"/>
          <c:order val="1"/>
          <c:tx>
            <c:strRef>
              <c:f>Sheet1!$F$1</c:f>
              <c:strCache>
                <c:ptCount val="1"/>
                <c:pt idx="0">
                  <c:v>Average Daily Contact 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</c:strCache>
            </c:strRef>
          </c:cat>
          <c:val>
            <c:numRef>
              <c:f>Sheet1!$F$2:$F$47</c:f>
              <c:numCache>
                <c:formatCode>0.0</c:formatCode>
                <c:ptCount val="46"/>
                <c:pt idx="0">
                  <c:v>1</c:v>
                </c:pt>
                <c:pt idx="1">
                  <c:v>1.42857142857143</c:v>
                </c:pt>
                <c:pt idx="2">
                  <c:v>0.285714285714286</c:v>
                </c:pt>
                <c:pt idx="3">
                  <c:v>0.571428571428571</c:v>
                </c:pt>
                <c:pt idx="4">
                  <c:v>1.28571428571429</c:v>
                </c:pt>
                <c:pt idx="5">
                  <c:v>1</c:v>
                </c:pt>
                <c:pt idx="6">
                  <c:v>5.85714285714286</c:v>
                </c:pt>
                <c:pt idx="7">
                  <c:v>0.857142857142857</c:v>
                </c:pt>
                <c:pt idx="8">
                  <c:v>0.142857142857143</c:v>
                </c:pt>
                <c:pt idx="9">
                  <c:v>1</c:v>
                </c:pt>
                <c:pt idx="10">
                  <c:v>0.142857142857143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.285714285714286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.142857142857143</c:v>
                </c:pt>
                <c:pt idx="25">
                  <c:v>0.142857142857143</c:v>
                </c:pt>
                <c:pt idx="26">
                  <c:v>0.142857142857143</c:v>
                </c:pt>
                <c:pt idx="27">
                  <c:v>0</c:v>
                </c:pt>
                <c:pt idx="28">
                  <c:v>0</c:v>
                </c:pt>
                <c:pt idx="29">
                  <c:v>0.142857142857143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.142857142857143</c:v>
                </c:pt>
                <c:pt idx="35">
                  <c:v>0.142857142857143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.142857142857143</c:v>
                </c:pt>
                <c:pt idx="42">
                  <c:v>0</c:v>
                </c:pt>
                <c:pt idx="43">
                  <c:v>0</c:v>
                </c:pt>
                <c:pt idx="44">
                  <c:v>0.142857142857143</c:v>
                </c:pt>
                <c:pt idx="45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G$1</c:f>
              <c:strCache>
                <c:ptCount val="1"/>
                <c:pt idx="0">
                  <c:v>Average Daily 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</c:strCache>
            </c:strRef>
          </c:cat>
          <c:val>
            <c:numRef>
              <c:f>Sheet1!$G$2:$G$47</c:f>
              <c:numCache>
                <c:formatCode>0.0</c:formatCode>
                <c:ptCount val="46"/>
                <c:pt idx="0">
                  <c:v>0.5</c:v>
                </c:pt>
                <c:pt idx="1">
                  <c:v>1.71428571428571</c:v>
                </c:pt>
                <c:pt idx="2">
                  <c:v>0.285714285714286</c:v>
                </c:pt>
                <c:pt idx="3">
                  <c:v>1</c:v>
                </c:pt>
                <c:pt idx="4">
                  <c:v>0.714285714285714</c:v>
                </c:pt>
                <c:pt idx="5">
                  <c:v>1.42857142857143</c:v>
                </c:pt>
                <c:pt idx="6">
                  <c:v>1.85714285714286</c:v>
                </c:pt>
                <c:pt idx="7">
                  <c:v>1.14285714285714</c:v>
                </c:pt>
                <c:pt idx="8">
                  <c:v>0.142857142857143</c:v>
                </c:pt>
                <c:pt idx="9">
                  <c:v>3.57142857142857</c:v>
                </c:pt>
                <c:pt idx="10">
                  <c:v>0.285714285714286</c:v>
                </c:pt>
                <c:pt idx="11">
                  <c:v>0</c:v>
                </c:pt>
                <c:pt idx="12">
                  <c:v>0.142857142857143</c:v>
                </c:pt>
                <c:pt idx="13">
                  <c:v>0.142857142857143</c:v>
                </c:pt>
                <c:pt idx="14">
                  <c:v>0</c:v>
                </c:pt>
                <c:pt idx="15">
                  <c:v>0</c:v>
                </c:pt>
                <c:pt idx="16">
                  <c:v>0.142857142857143</c:v>
                </c:pt>
                <c:pt idx="17">
                  <c:v>0</c:v>
                </c:pt>
                <c:pt idx="18">
                  <c:v>0</c:v>
                </c:pt>
                <c:pt idx="19">
                  <c:v>0.571428571428571</c:v>
                </c:pt>
                <c:pt idx="20">
                  <c:v>0.285714285714286</c:v>
                </c:pt>
                <c:pt idx="21">
                  <c:v>0</c:v>
                </c:pt>
                <c:pt idx="22">
                  <c:v>0.714285714285714</c:v>
                </c:pt>
                <c:pt idx="23">
                  <c:v>0.142857142857143</c:v>
                </c:pt>
                <c:pt idx="24">
                  <c:v>0.285714285714286</c:v>
                </c:pt>
                <c:pt idx="25">
                  <c:v>0.142857142857143</c:v>
                </c:pt>
                <c:pt idx="26">
                  <c:v>0.285714285714286</c:v>
                </c:pt>
                <c:pt idx="27">
                  <c:v>0.142857142857143</c:v>
                </c:pt>
                <c:pt idx="28">
                  <c:v>0.142857142857143</c:v>
                </c:pt>
                <c:pt idx="29">
                  <c:v>0.285714285714286</c:v>
                </c:pt>
                <c:pt idx="30">
                  <c:v>0.142857142857143</c:v>
                </c:pt>
                <c:pt idx="31">
                  <c:v>0</c:v>
                </c:pt>
                <c:pt idx="32">
                  <c:v>0.142857142857143</c:v>
                </c:pt>
                <c:pt idx="33">
                  <c:v>0.142857142857143</c:v>
                </c:pt>
                <c:pt idx="34">
                  <c:v>0.428571428571429</c:v>
                </c:pt>
                <c:pt idx="35">
                  <c:v>0.142857142857143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.285714285714286</c:v>
                </c:pt>
                <c:pt idx="42">
                  <c:v>0</c:v>
                </c:pt>
                <c:pt idx="43">
                  <c:v>0</c:v>
                </c:pt>
                <c:pt idx="44">
                  <c:v>0.428571428571429</c:v>
                </c:pt>
                <c:pt idx="45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61423104"/>
        <c:axId val="261425024"/>
      </c:barChart>
      <c:lineChart>
        <c:grouping val="standard"/>
        <c:varyColors val="0"/>
        <c:ser>
          <c:idx val="3"/>
          <c:order val="3"/>
          <c:tx>
            <c:strRef>
              <c:f>Sheet1!$H$1</c:f>
              <c:strCache>
                <c:ptCount val="1"/>
                <c:pt idx="0">
                  <c:v>Average Daily User Activiti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</c:strCache>
            </c:strRef>
          </c:cat>
          <c:val>
            <c:numRef>
              <c:f>Sheet1!$H$2:$H$47</c:f>
              <c:numCache>
                <c:formatCode>0</c:formatCode>
                <c:ptCount val="46"/>
                <c:pt idx="0">
                  <c:v>2</c:v>
                </c:pt>
                <c:pt idx="1">
                  <c:v>5.57142857142857</c:v>
                </c:pt>
                <c:pt idx="2">
                  <c:v>5</c:v>
                </c:pt>
                <c:pt idx="3">
                  <c:v>4.71428571428571</c:v>
                </c:pt>
                <c:pt idx="4">
                  <c:v>6.42857142857143</c:v>
                </c:pt>
                <c:pt idx="5">
                  <c:v>3.28571428571429</c:v>
                </c:pt>
                <c:pt idx="6">
                  <c:v>9.14285714285714</c:v>
                </c:pt>
                <c:pt idx="7">
                  <c:v>2.57142857142857</c:v>
                </c:pt>
                <c:pt idx="8">
                  <c:v>1.42857142857143</c:v>
                </c:pt>
                <c:pt idx="9">
                  <c:v>11.1428571428571</c:v>
                </c:pt>
                <c:pt idx="10">
                  <c:v>1.85714285714286</c:v>
                </c:pt>
                <c:pt idx="11">
                  <c:v>1.28571428571429</c:v>
                </c:pt>
                <c:pt idx="12">
                  <c:v>1.71428571428571</c:v>
                </c:pt>
                <c:pt idx="13">
                  <c:v>0.857142857142857</c:v>
                </c:pt>
                <c:pt idx="14">
                  <c:v>0.571428571428571</c:v>
                </c:pt>
                <c:pt idx="15">
                  <c:v>0.428571428571429</c:v>
                </c:pt>
                <c:pt idx="16">
                  <c:v>0.428571428571429</c:v>
                </c:pt>
                <c:pt idx="17">
                  <c:v>0.285714285714286</c:v>
                </c:pt>
                <c:pt idx="18">
                  <c:v>0.142857142857143</c:v>
                </c:pt>
                <c:pt idx="19">
                  <c:v>1.71428571428571</c:v>
                </c:pt>
                <c:pt idx="20">
                  <c:v>1.57142857142857</c:v>
                </c:pt>
                <c:pt idx="21">
                  <c:v>0.857142857142857</c:v>
                </c:pt>
                <c:pt idx="22">
                  <c:v>1.85714285714286</c:v>
                </c:pt>
                <c:pt idx="23">
                  <c:v>0.857142857142857</c:v>
                </c:pt>
                <c:pt idx="24">
                  <c:v>0.857142857142857</c:v>
                </c:pt>
                <c:pt idx="25">
                  <c:v>1.14285714285714</c:v>
                </c:pt>
                <c:pt idx="26">
                  <c:v>0.714285714285714</c:v>
                </c:pt>
                <c:pt idx="27">
                  <c:v>0.714285714285714</c:v>
                </c:pt>
                <c:pt idx="28">
                  <c:v>1</c:v>
                </c:pt>
                <c:pt idx="29">
                  <c:v>0.857142857142857</c:v>
                </c:pt>
                <c:pt idx="30">
                  <c:v>0.714285714285714</c:v>
                </c:pt>
                <c:pt idx="31">
                  <c:v>0.571428571428571</c:v>
                </c:pt>
                <c:pt idx="32">
                  <c:v>1.28571428571428</c:v>
                </c:pt>
                <c:pt idx="33">
                  <c:v>0.428571428571429</c:v>
                </c:pt>
                <c:pt idx="34">
                  <c:v>1.28571428571429</c:v>
                </c:pt>
                <c:pt idx="35">
                  <c:v>0.285714285714286</c:v>
                </c:pt>
                <c:pt idx="36">
                  <c:v>0.142857142857143</c:v>
                </c:pt>
                <c:pt idx="37">
                  <c:v>0.142857142857143</c:v>
                </c:pt>
                <c:pt idx="38">
                  <c:v>0.142857142857143</c:v>
                </c:pt>
                <c:pt idx="39">
                  <c:v>0.428571428571429</c:v>
                </c:pt>
                <c:pt idx="40">
                  <c:v>0.142857142857143</c:v>
                </c:pt>
                <c:pt idx="41">
                  <c:v>0.857142857142858</c:v>
                </c:pt>
                <c:pt idx="42">
                  <c:v>0.571428571428571</c:v>
                </c:pt>
                <c:pt idx="43">
                  <c:v>0</c:v>
                </c:pt>
                <c:pt idx="44">
                  <c:v>1</c:v>
                </c:pt>
                <c:pt idx="45">
                  <c:v>0.14285714285714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1469696"/>
        <c:axId val="261468160"/>
      </c:lineChart>
      <c:dateAx>
        <c:axId val="2614231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 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25024"/>
        <c:crosses val="autoZero"/>
        <c:auto val="0"/>
        <c:lblAlgn val="ctr"/>
        <c:lblOffset val="100"/>
        <c:baseTimeUnit val="days"/>
      </c:dateAx>
      <c:valAx>
        <c:axId val="2614250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23104"/>
        <c:crosses val="autoZero"/>
        <c:crossBetween val="between"/>
      </c:valAx>
      <c:catAx>
        <c:axId val="26146969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68160"/>
        <c:crosses val="autoZero"/>
        <c:auto val="1"/>
        <c:lblAlgn val="ctr"/>
        <c:lblOffset val="100"/>
        <c:noMultiLvlLbl val="0"/>
      </c:catAx>
      <c:valAx>
        <c:axId val="261468160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6969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solidFill>
                  <a:schemeClr val="bg1">
                    <a:lumMod val="50000"/>
                  </a:schemeClr>
                </a:solidFill>
                <a:effectLst/>
              </a:rPr>
              <a:t>Monthly User Activities</a:t>
            </a:r>
            <a:endParaRPr lang="zh-CN" altLang="zh-CN" sz="1800" b="0" i="0" u="none" strike="noStrike" kern="1200" spc="0" baseline="0" dirty="0">
              <a:solidFill>
                <a:schemeClr val="bg1">
                  <a:lumMod val="50000"/>
                </a:schemeClr>
              </a:solidFill>
              <a:effectLst/>
              <a:latin typeface="+mn-lt"/>
              <a:ea typeface="+mn-ea"/>
              <a:cs typeface="+mn-cs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57</c:v>
                </c:pt>
                <c:pt idx="1">
                  <c:v>65</c:v>
                </c:pt>
                <c:pt idx="2">
                  <c:v>73</c:v>
                </c:pt>
                <c:pt idx="3">
                  <c:v>25</c:v>
                </c:pt>
                <c:pt idx="4">
                  <c:v>17</c:v>
                </c:pt>
                <c:pt idx="5">
                  <c:v>23</c:v>
                </c:pt>
                <c:pt idx="6">
                  <c:v>18</c:v>
                </c:pt>
                <c:pt idx="7">
                  <c:v>20</c:v>
                </c:pt>
                <c:pt idx="8">
                  <c:v>7</c:v>
                </c:pt>
                <c:pt idx="9">
                  <c:v>12</c:v>
                </c:pt>
                <c:pt idx="10">
                  <c:v>4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3"/>
              <c:delete val="1"/>
            </c:dLbl>
            <c:dLbl>
              <c:idx val="5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4cebba5a-d466-44f9-adba-475372df78dd}" type="VALUE">
                      <a:t>[VALUE]</a:t>
                    </a:fld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2b0c58fc-162c-4f7d-b6a2-d51894050349}" type="VALUE">
                      <a:t>[VALUE]</a:t>
                    </a:fld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C$2:$C$12</c:f>
              <c:numCache>
                <c:formatCode>General</c:formatCode>
                <c:ptCount val="11"/>
                <c:pt idx="0">
                  <c:v>15</c:v>
                </c:pt>
                <c:pt idx="1">
                  <c:v>65</c:v>
                </c:pt>
                <c:pt idx="2">
                  <c:v>10</c:v>
                </c:pt>
                <c:pt idx="3">
                  <c:v>0</c:v>
                </c:pt>
                <c:pt idx="4">
                  <c:v>2</c:v>
                </c:pt>
                <c:pt idx="5">
                  <c:v>1</c:v>
                </c:pt>
                <c:pt idx="6">
                  <c:v>2</c:v>
                </c:pt>
                <c:pt idx="7">
                  <c:v>1</c:v>
                </c:pt>
                <c:pt idx="8">
                  <c:v>2</c:v>
                </c:pt>
                <c:pt idx="9">
                  <c:v>1</c:v>
                </c:pt>
                <c:pt idx="10">
                  <c:v>1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3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5ac28765-db71-4530-a8b4-23bbf316d43d}" type="VALUE">
                      <a:t>[VALUE]</a:t>
                    </a:fld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c71a35db-50b2-441e-8da1-3cd775a3fdda}" type="VALUE">
                      <a:t>[VALUE]</a:t>
                    </a:fld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D$2:$D$12</c:f>
              <c:numCache>
                <c:formatCode>General</c:formatCode>
                <c:ptCount val="11"/>
                <c:pt idx="0">
                  <c:v>16</c:v>
                </c:pt>
                <c:pt idx="1">
                  <c:v>40</c:v>
                </c:pt>
                <c:pt idx="2">
                  <c:v>30</c:v>
                </c:pt>
                <c:pt idx="3">
                  <c:v>2</c:v>
                </c:pt>
                <c:pt idx="4">
                  <c:v>7</c:v>
                </c:pt>
                <c:pt idx="5">
                  <c:v>8</c:v>
                </c:pt>
                <c:pt idx="6">
                  <c:v>7</c:v>
                </c:pt>
                <c:pt idx="7">
                  <c:v>3</c:v>
                </c:pt>
                <c:pt idx="8">
                  <c:v>4</c:v>
                </c:pt>
                <c:pt idx="9">
                  <c:v>2</c:v>
                </c:pt>
                <c:pt idx="10">
                  <c:v>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05595008"/>
        <c:axId val="205617408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E$2:$E$12</c:f>
              <c:numCache>
                <c:formatCode>General</c:formatCode>
                <c:ptCount val="11"/>
                <c:pt idx="0">
                  <c:v>#N/A</c:v>
                </c:pt>
                <c:pt idx="1" c:formatCode="0%">
                  <c:v>1.93181818181818</c:v>
                </c:pt>
                <c:pt idx="2" c:formatCode="0%">
                  <c:v>0.437984496124031</c:v>
                </c:pt>
                <c:pt idx="3" c:formatCode="0%">
                  <c:v>0.0727762803234501</c:v>
                </c:pt>
                <c:pt idx="4" c:formatCode="0%">
                  <c:v>0.0653266331658292</c:v>
                </c:pt>
                <c:pt idx="5" c:formatCode="0%">
                  <c:v>0.0754716981132075</c:v>
                </c:pt>
                <c:pt idx="6" c:formatCode="0%">
                  <c:v>0.0592105263157895</c:v>
                </c:pt>
                <c:pt idx="7" c:formatCode="0%">
                  <c:v>0.0496894409937888</c:v>
                </c:pt>
                <c:pt idx="8" c:formatCode="0%">
                  <c:v>0.0256410256410256</c:v>
                </c:pt>
                <c:pt idx="9" c:formatCode="0%">
                  <c:v>0.0288461538461538</c:v>
                </c:pt>
                <c:pt idx="10" c:formatCode="0%">
                  <c:v>0.0149532710280374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898989"/>
              </a:solidFill>
              <a:ln w="9525">
                <a:solidFill>
                  <a:srgbClr val="898989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F$2:$F$12</c:f>
              <c:numCache>
                <c:formatCode>General</c:formatCode>
                <c:ptCount val="11"/>
                <c:pt idx="0">
                  <c:v>#N/A</c:v>
                </c:pt>
                <c:pt idx="1" c:formatCode="0%">
                  <c:v>0.931818181818182</c:v>
                </c:pt>
                <c:pt idx="2" c:formatCode="0%">
                  <c:v>-0.335294117647059</c:v>
                </c:pt>
                <c:pt idx="3" c:formatCode="0%">
                  <c:v>-0.761061946902655</c:v>
                </c:pt>
                <c:pt idx="4" c:formatCode="0%">
                  <c:v>-0.037037037037037</c:v>
                </c:pt>
                <c:pt idx="5" c:formatCode="0%">
                  <c:v>0.230769230769231</c:v>
                </c:pt>
                <c:pt idx="6" c:formatCode="0%">
                  <c:v>-0.15625</c:v>
                </c:pt>
                <c:pt idx="7" c:formatCode="0%">
                  <c:v>-0.111111111111111</c:v>
                </c:pt>
                <c:pt idx="8" c:formatCode="0%">
                  <c:v>-0.458333333333333</c:v>
                </c:pt>
                <c:pt idx="9" c:formatCode="0%">
                  <c:v>0.153846153846154</c:v>
                </c:pt>
                <c:pt idx="10" c:formatCode="0%">
                  <c:v>-0.46666666666666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5731712"/>
        <c:axId val="205726080"/>
      </c:lineChart>
      <c:catAx>
        <c:axId val="20559500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Month</a:t>
                </a:r>
                <a:endParaRPr lang="zh-CN" altLang="en-US" sz="1200" dirty="0">
                  <a:solidFill>
                    <a:schemeClr val="tx1"/>
                  </a:solidFill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617408"/>
        <c:crosses val="autoZero"/>
        <c:auto val="1"/>
        <c:lblAlgn val="ctr"/>
        <c:lblOffset val="100"/>
        <c:noMultiLvlLbl val="0"/>
      </c:catAx>
      <c:valAx>
        <c:axId val="2056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595008"/>
        <c:crosses val="autoZero"/>
        <c:crossBetween val="between"/>
      </c:valAx>
      <c:catAx>
        <c:axId val="2057317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6080"/>
        <c:crosses val="autoZero"/>
        <c:auto val="1"/>
        <c:lblAlgn val="ctr"/>
        <c:lblOffset val="100"/>
        <c:noMultiLvlLbl val="0"/>
      </c:catAx>
      <c:valAx>
        <c:axId val="205726080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3171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rgbClr val="8C8C8C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sz="1800" b="0" i="0" baseline="0" dirty="0">
                <a:solidFill>
                  <a:schemeClr val="bg1">
                    <a:lumMod val="50000"/>
                  </a:schemeClr>
                </a:solidFill>
                <a:effectLst/>
              </a:rPr>
              <a:t>User Activities Proportions Overview </a:t>
            </a:r>
            <a:endParaRPr lang="en-US" b="0" dirty="0">
              <a:solidFill>
                <a:schemeClr val="bg1">
                  <a:lumMod val="50000"/>
                </a:schemeClr>
              </a:solidFill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User Activities Propotions Overview </c:v>
                </c:pt>
              </c:strCache>
            </c:strRef>
          </c:tx>
          <c:spPr/>
          <c:explosion val="0"/>
          <c:dPt>
            <c:idx val="0"/>
            <c:bubble3D val="0"/>
            <c:spPr>
              <a:solidFill>
                <a:srgbClr val="C6C6C6"/>
              </a:solidFill>
              <a:ln>
                <a:noFill/>
              </a:ln>
              <a:effectLst/>
            </c:spPr>
          </c:dPt>
          <c:dPt>
            <c:idx val="1"/>
            <c:bubble3D val="0"/>
            <c:spPr>
              <a:solidFill>
                <a:srgbClr val="575757"/>
              </a:solidFill>
              <a:ln>
                <a:noFill/>
              </a:ln>
              <a:effectLst/>
            </c:spPr>
          </c:dPt>
          <c:dPt>
            <c:idx val="2"/>
            <c:bubble3D val="0"/>
            <c:spPr>
              <a:solidFill>
                <a:srgbClr val="BB0A30"/>
              </a:solidFill>
              <a:ln>
                <a:noFill/>
              </a:ln>
              <a:effectLst/>
            </c:spPr>
          </c:dPt>
          <c:dLbls>
            <c:numFmt formatCode="0%" sourceLinked="0"/>
            <c:spPr>
              <a:noFill/>
              <a:ln w="17416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1235" b="0" i="0" u="none" strike="noStrike" kern="1200" baseline="0">
                    <a:solidFill>
                      <a:schemeClr val="tx1"/>
                    </a:solidFill>
                    <a:latin typeface="+mj-lt"/>
                    <a:ea typeface="Arial" panose="020B0604020202020204"/>
                    <a:cs typeface="Arial" panose="020B0604020202020204"/>
                  </a:defRPr>
                </a:pPr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Discover More</c:v>
                </c:pt>
                <c:pt idx="1">
                  <c:v>Contact</c:v>
                </c:pt>
                <c:pt idx="2">
                  <c:v>Request Test Drive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21</c:v>
                </c:pt>
                <c:pt idx="1">
                  <c:v>100</c:v>
                </c:pt>
                <c:pt idx="2">
                  <c:v>12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</c:pieChart>
      <c:spPr>
        <a:noFill/>
        <a:ln w="17416">
          <a:noFill/>
        </a:ln>
        <a:effectLst/>
      </c:spPr>
    </c:plotArea>
    <c:legend>
      <c:legendPos val="r"/>
      <c:layout/>
      <c:overlay val="0"/>
      <c:spPr>
        <a:noFill/>
        <a:ln w="8708">
          <a:solidFill>
            <a:srgbClr val="FFFFFF"/>
          </a:solidFill>
          <a:prstDash val="solid"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rgbClr val="000000"/>
              </a:solidFill>
              <a:latin typeface="+mn-lt"/>
              <a:ea typeface="Heiti SC Light"/>
              <a:cs typeface="Heiti SC Light"/>
            </a:defRPr>
          </a:pPr>
        </a:p>
      </c:txPr>
    </c:legend>
    <c:plotVisOnly val="1"/>
    <c:dispBlanksAs val="zero"/>
    <c:showDLblsOverMax val="0"/>
  </c:chart>
  <c:spPr>
    <a:noFill/>
    <a:ln w="9525" cap="flat" cmpd="sng" algn="ctr">
      <a:solidFill>
        <a:srgbClr val="8C8C8C"/>
      </a:solidFill>
      <a:prstDash val="solid"/>
    </a:ln>
    <a:effectLst/>
  </c:spPr>
  <c:txPr>
    <a:bodyPr/>
    <a:lstStyle/>
    <a:p>
      <a:pPr>
        <a:defRPr lang="zh-CN" sz="1235" b="0" i="0" u="none" strike="noStrike" baseline="0">
          <a:solidFill>
            <a:srgbClr val="000000"/>
          </a:solidFill>
          <a:latin typeface="VW Headline OT-Book"/>
          <a:ea typeface="VW Headline OT-Book"/>
          <a:cs typeface="VW Headline OT-Book"/>
        </a:defRPr>
      </a:pPr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none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cap="none" baseline="0" dirty="0">
                <a:effectLst/>
              </a:rPr>
              <a:t>Weekly Downloads</a:t>
            </a:r>
            <a:endParaRPr lang="zh-CN" altLang="zh-CN" cap="none" baseline="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</c:strCache>
            </c:strRef>
          </c:cat>
          <c:val>
            <c:numRef>
              <c:f>Sheet1!$B$2:$B$47</c:f>
              <c:numCache>
                <c:formatCode>General</c:formatCode>
                <c:ptCount val="46"/>
                <c:pt idx="0">
                  <c:v>8</c:v>
                </c:pt>
                <c:pt idx="1">
                  <c:v>46</c:v>
                </c:pt>
                <c:pt idx="2">
                  <c:v>18</c:v>
                </c:pt>
                <c:pt idx="3">
                  <c:v>17</c:v>
                </c:pt>
                <c:pt idx="4">
                  <c:v>19</c:v>
                </c:pt>
                <c:pt idx="5">
                  <c:v>23</c:v>
                </c:pt>
                <c:pt idx="6">
                  <c:v>21</c:v>
                </c:pt>
                <c:pt idx="7">
                  <c:v>14</c:v>
                </c:pt>
                <c:pt idx="8">
                  <c:v>18</c:v>
                </c:pt>
                <c:pt idx="9">
                  <c:v>124</c:v>
                </c:pt>
                <c:pt idx="10">
                  <c:v>13</c:v>
                </c:pt>
                <c:pt idx="11">
                  <c:v>22</c:v>
                </c:pt>
                <c:pt idx="12">
                  <c:v>14</c:v>
                </c:pt>
                <c:pt idx="13">
                  <c:v>17</c:v>
                </c:pt>
                <c:pt idx="14">
                  <c:v>13</c:v>
                </c:pt>
                <c:pt idx="15">
                  <c:v>13</c:v>
                </c:pt>
                <c:pt idx="16">
                  <c:v>8</c:v>
                </c:pt>
                <c:pt idx="17">
                  <c:v>20</c:v>
                </c:pt>
                <c:pt idx="18">
                  <c:v>6</c:v>
                </c:pt>
                <c:pt idx="19">
                  <c:v>19</c:v>
                </c:pt>
                <c:pt idx="20">
                  <c:v>18</c:v>
                </c:pt>
                <c:pt idx="21">
                  <c:v>17</c:v>
                </c:pt>
                <c:pt idx="22">
                  <c:v>18</c:v>
                </c:pt>
                <c:pt idx="23">
                  <c:v>17</c:v>
                </c:pt>
                <c:pt idx="24">
                  <c:v>15</c:v>
                </c:pt>
                <c:pt idx="25">
                  <c:v>12</c:v>
                </c:pt>
                <c:pt idx="26">
                  <c:v>4</c:v>
                </c:pt>
                <c:pt idx="27">
                  <c:v>12</c:v>
                </c:pt>
                <c:pt idx="28">
                  <c:v>12</c:v>
                </c:pt>
                <c:pt idx="29">
                  <c:v>20</c:v>
                </c:pt>
                <c:pt idx="30">
                  <c:v>12</c:v>
                </c:pt>
                <c:pt idx="31">
                  <c:v>17</c:v>
                </c:pt>
                <c:pt idx="32">
                  <c:v>19</c:v>
                </c:pt>
                <c:pt idx="33">
                  <c:v>16</c:v>
                </c:pt>
                <c:pt idx="34">
                  <c:v>22</c:v>
                </c:pt>
                <c:pt idx="35">
                  <c:v>14</c:v>
                </c:pt>
                <c:pt idx="36">
                  <c:v>11</c:v>
                </c:pt>
                <c:pt idx="37">
                  <c:v>5</c:v>
                </c:pt>
                <c:pt idx="38">
                  <c:v>20</c:v>
                </c:pt>
                <c:pt idx="39">
                  <c:v>7</c:v>
                </c:pt>
                <c:pt idx="40">
                  <c:v>7</c:v>
                </c:pt>
                <c:pt idx="41">
                  <c:v>23</c:v>
                </c:pt>
                <c:pt idx="42">
                  <c:v>25</c:v>
                </c:pt>
                <c:pt idx="43">
                  <c:v>8</c:v>
                </c:pt>
                <c:pt idx="44">
                  <c:v>12</c:v>
                </c:pt>
                <c:pt idx="45">
                  <c:v>14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</c:strCache>
            </c:strRef>
          </c:cat>
          <c:val>
            <c:numRef>
              <c:f>Sheet1!$C$2:$C$47</c:f>
              <c:numCache>
                <c:formatCode>General</c:formatCode>
                <c:ptCount val="46"/>
                <c:pt idx="0">
                  <c:v>0</c:v>
                </c:pt>
                <c:pt idx="1">
                  <c:v>9</c:v>
                </c:pt>
                <c:pt idx="2">
                  <c:v>10</c:v>
                </c:pt>
                <c:pt idx="3">
                  <c:v>5</c:v>
                </c:pt>
                <c:pt idx="4">
                  <c:v>22</c:v>
                </c:pt>
                <c:pt idx="5">
                  <c:v>17</c:v>
                </c:pt>
                <c:pt idx="6">
                  <c:v>6</c:v>
                </c:pt>
                <c:pt idx="7">
                  <c:v>6</c:v>
                </c:pt>
                <c:pt idx="8">
                  <c:v>30</c:v>
                </c:pt>
                <c:pt idx="9">
                  <c:v>30</c:v>
                </c:pt>
                <c:pt idx="10">
                  <c:v>10</c:v>
                </c:pt>
                <c:pt idx="11">
                  <c:v>5</c:v>
                </c:pt>
                <c:pt idx="12">
                  <c:v>5</c:v>
                </c:pt>
                <c:pt idx="13">
                  <c:v>4</c:v>
                </c:pt>
                <c:pt idx="14">
                  <c:v>6</c:v>
                </c:pt>
                <c:pt idx="15">
                  <c:v>2</c:v>
                </c:pt>
                <c:pt idx="16">
                  <c:v>9</c:v>
                </c:pt>
                <c:pt idx="17">
                  <c:v>5</c:v>
                </c:pt>
                <c:pt idx="18">
                  <c:v>3</c:v>
                </c:pt>
                <c:pt idx="19">
                  <c:v>19</c:v>
                </c:pt>
                <c:pt idx="20">
                  <c:v>21</c:v>
                </c:pt>
                <c:pt idx="21">
                  <c:v>7</c:v>
                </c:pt>
                <c:pt idx="22">
                  <c:v>10</c:v>
                </c:pt>
                <c:pt idx="23">
                  <c:v>6</c:v>
                </c:pt>
                <c:pt idx="24">
                  <c:v>13</c:v>
                </c:pt>
                <c:pt idx="25">
                  <c:v>9</c:v>
                </c:pt>
                <c:pt idx="26">
                  <c:v>10</c:v>
                </c:pt>
                <c:pt idx="27">
                  <c:v>2</c:v>
                </c:pt>
                <c:pt idx="28">
                  <c:v>4</c:v>
                </c:pt>
                <c:pt idx="29">
                  <c:v>5</c:v>
                </c:pt>
                <c:pt idx="30">
                  <c:v>6</c:v>
                </c:pt>
                <c:pt idx="31">
                  <c:v>3</c:v>
                </c:pt>
                <c:pt idx="32">
                  <c:v>11</c:v>
                </c:pt>
                <c:pt idx="33">
                  <c:v>4</c:v>
                </c:pt>
                <c:pt idx="34">
                  <c:v>8</c:v>
                </c:pt>
                <c:pt idx="35">
                  <c:v>5</c:v>
                </c:pt>
                <c:pt idx="36">
                  <c:v>3</c:v>
                </c:pt>
                <c:pt idx="37">
                  <c:v>7</c:v>
                </c:pt>
                <c:pt idx="38">
                  <c:v>5</c:v>
                </c:pt>
                <c:pt idx="39">
                  <c:v>5</c:v>
                </c:pt>
                <c:pt idx="40">
                  <c:v>2</c:v>
                </c:pt>
                <c:pt idx="41">
                  <c:v>10</c:v>
                </c:pt>
                <c:pt idx="42">
                  <c:v>7</c:v>
                </c:pt>
                <c:pt idx="43">
                  <c:v>5</c:v>
                </c:pt>
                <c:pt idx="44">
                  <c:v>6</c:v>
                </c:pt>
                <c:pt idx="45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Lbl>
              <c:idx val="9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overflow" horzOverflow="overflow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</c:strCache>
            </c:strRef>
          </c:cat>
          <c:val>
            <c:numRef>
              <c:f>Sheet1!$D$2:$D$47</c:f>
              <c:numCache>
                <c:formatCode>General</c:formatCode>
                <c:ptCount val="46"/>
                <c:pt idx="0">
                  <c:v>3</c:v>
                </c:pt>
                <c:pt idx="1">
                  <c:v>34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1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533312"/>
        <c:axId val="201543680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</c:strCache>
            </c:strRef>
          </c:cat>
          <c:val>
            <c:numRef>
              <c:f>Sheet1!$E$2:$E$47</c:f>
              <c:numCache>
                <c:formatCode>0.00%</c:formatCode>
                <c:ptCount val="46"/>
                <c:pt idx="0">
                  <c:v>0</c:v>
                </c:pt>
                <c:pt idx="1">
                  <c:v>6.875</c:v>
                </c:pt>
                <c:pt idx="2">
                  <c:v>0.444444444444444</c:v>
                </c:pt>
                <c:pt idx="3">
                  <c:v>0.241758241758242</c:v>
                </c:pt>
                <c:pt idx="4">
                  <c:v>0.36283185840708</c:v>
                </c:pt>
                <c:pt idx="5">
                  <c:v>0.25974025974026</c:v>
                </c:pt>
                <c:pt idx="6">
                  <c:v>0.139175257731959</c:v>
                </c:pt>
                <c:pt idx="7">
                  <c:v>0.0904977375565611</c:v>
                </c:pt>
                <c:pt idx="8">
                  <c:v>0.199170124481328</c:v>
                </c:pt>
                <c:pt idx="9">
                  <c:v>0.532871972318339</c:v>
                </c:pt>
                <c:pt idx="10">
                  <c:v>0.0519187358916479</c:v>
                </c:pt>
                <c:pt idx="11">
                  <c:v>0.0579399141630901</c:v>
                </c:pt>
                <c:pt idx="12">
                  <c:v>0.0391752577319588</c:v>
                </c:pt>
                <c:pt idx="13">
                  <c:v>0.0467706013363029</c:v>
                </c:pt>
                <c:pt idx="14">
                  <c:v>0.0429864253393665</c:v>
                </c:pt>
                <c:pt idx="15">
                  <c:v>0.0341685649202733</c:v>
                </c:pt>
                <c:pt idx="16">
                  <c:v>0.0411622276029056</c:v>
                </c:pt>
                <c:pt idx="17">
                  <c:v>0.0641025641025641</c:v>
                </c:pt>
                <c:pt idx="18">
                  <c:v>0.0231958762886598</c:v>
                </c:pt>
                <c:pt idx="19">
                  <c:v>0.10079575596817</c:v>
                </c:pt>
                <c:pt idx="20">
                  <c:v>0.106267029972752</c:v>
                </c:pt>
                <c:pt idx="21">
                  <c:v>0.0952380952380952</c:v>
                </c:pt>
                <c:pt idx="22">
                  <c:v>0.110671936758893</c:v>
                </c:pt>
                <c:pt idx="23">
                  <c:v>0.0905511811023622</c:v>
                </c:pt>
                <c:pt idx="24">
                  <c:v>0.108527131782946</c:v>
                </c:pt>
                <c:pt idx="25">
                  <c:v>0.0792452830188679</c:v>
                </c:pt>
                <c:pt idx="26">
                  <c:v>0.052434456928839</c:v>
                </c:pt>
                <c:pt idx="27">
                  <c:v>0.0526315789473684</c:v>
                </c:pt>
                <c:pt idx="28">
                  <c:v>0.0608365019011407</c:v>
                </c:pt>
                <c:pt idx="29">
                  <c:v>0.0984251968503937</c:v>
                </c:pt>
                <c:pt idx="30">
                  <c:v>0.0666666666666667</c:v>
                </c:pt>
                <c:pt idx="31">
                  <c:v>0.08</c:v>
                </c:pt>
                <c:pt idx="32">
                  <c:v>0.12987012987013</c:v>
                </c:pt>
                <c:pt idx="33">
                  <c:v>0.0843881856540084</c:v>
                </c:pt>
                <c:pt idx="34">
                  <c:v>0.131004366812227</c:v>
                </c:pt>
                <c:pt idx="35">
                  <c:v>0.0805084745762712</c:v>
                </c:pt>
                <c:pt idx="36">
                  <c:v>0.0616740088105727</c:v>
                </c:pt>
                <c:pt idx="37">
                  <c:v>0.0545454545454545</c:v>
                </c:pt>
                <c:pt idx="38">
                  <c:v>0.114678899082569</c:v>
                </c:pt>
                <c:pt idx="39">
                  <c:v>0.0524017467248908</c:v>
                </c:pt>
                <c:pt idx="40">
                  <c:v>0.04</c:v>
                </c:pt>
                <c:pt idx="41">
                  <c:v>0.157894736842105</c:v>
                </c:pt>
                <c:pt idx="42">
                  <c:v>0.142857142857143</c:v>
                </c:pt>
                <c:pt idx="43">
                  <c:v>0.0550847457627119</c:v>
                </c:pt>
                <c:pt idx="44">
                  <c:v>0.0821917808219178</c:v>
                </c:pt>
                <c:pt idx="45">
                  <c:v>0.0645161290322581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chemeClr val="accent6">
                  <a:tint val="54000"/>
                </a:schemeClr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E2BCBF"/>
              </a:solidFill>
              <a:ln w="9525" cap="flat" cmpd="sng" algn="ctr">
                <a:solidFill>
                  <a:schemeClr val="accent6">
                    <a:tint val="54000"/>
                    <a:shade val="95000"/>
                  </a:schemeClr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</c:strCache>
            </c:strRef>
          </c:cat>
          <c:val>
            <c:numRef>
              <c:f>Sheet1!$F$2:$F$47</c:f>
              <c:numCache>
                <c:formatCode>0.00%</c:formatCode>
                <c:ptCount val="46"/>
                <c:pt idx="0">
                  <c:v>0</c:v>
                </c:pt>
                <c:pt idx="1">
                  <c:v>5.875</c:v>
                </c:pt>
                <c:pt idx="2">
                  <c:v>-0.490909090909091</c:v>
                </c:pt>
                <c:pt idx="3">
                  <c:v>-0.214285714285714</c:v>
                </c:pt>
                <c:pt idx="4">
                  <c:v>0.863636363636364</c:v>
                </c:pt>
                <c:pt idx="5">
                  <c:v>-0.024390243902439</c:v>
                </c:pt>
                <c:pt idx="6">
                  <c:v>-0.325</c:v>
                </c:pt>
                <c:pt idx="7">
                  <c:v>-0.259259259259259</c:v>
                </c:pt>
                <c:pt idx="8">
                  <c:v>1.4</c:v>
                </c:pt>
                <c:pt idx="9">
                  <c:v>2.20833333333333</c:v>
                </c:pt>
                <c:pt idx="10">
                  <c:v>-0.850649350649351</c:v>
                </c:pt>
                <c:pt idx="11">
                  <c:v>0.173913043478261</c:v>
                </c:pt>
                <c:pt idx="12">
                  <c:v>-0.296296296296296</c:v>
                </c:pt>
                <c:pt idx="13">
                  <c:v>0.105263157894737</c:v>
                </c:pt>
                <c:pt idx="14">
                  <c:v>-0.0952380952380952</c:v>
                </c:pt>
                <c:pt idx="15">
                  <c:v>-0.210526315789474</c:v>
                </c:pt>
                <c:pt idx="16">
                  <c:v>0.133333333333333</c:v>
                </c:pt>
                <c:pt idx="17">
                  <c:v>0.470588235294118</c:v>
                </c:pt>
                <c:pt idx="18">
                  <c:v>-0.64</c:v>
                </c:pt>
                <c:pt idx="19">
                  <c:v>3.22222222222222</c:v>
                </c:pt>
                <c:pt idx="20">
                  <c:v>0.0263157894736842</c:v>
                </c:pt>
                <c:pt idx="21">
                  <c:v>-0.384615384615385</c:v>
                </c:pt>
                <c:pt idx="22">
                  <c:v>0.166666666666667</c:v>
                </c:pt>
                <c:pt idx="23">
                  <c:v>-0.178571428571429</c:v>
                </c:pt>
                <c:pt idx="24">
                  <c:v>0.217391304347826</c:v>
                </c:pt>
                <c:pt idx="25">
                  <c:v>-0.25</c:v>
                </c:pt>
                <c:pt idx="26">
                  <c:v>-0.333333333333333</c:v>
                </c:pt>
                <c:pt idx="27">
                  <c:v>0</c:v>
                </c:pt>
                <c:pt idx="28">
                  <c:v>0.142857142857143</c:v>
                </c:pt>
                <c:pt idx="29">
                  <c:v>0.5625</c:v>
                </c:pt>
                <c:pt idx="30">
                  <c:v>-0.28</c:v>
                </c:pt>
                <c:pt idx="31">
                  <c:v>0.111111111111111</c:v>
                </c:pt>
                <c:pt idx="32">
                  <c:v>0.5</c:v>
                </c:pt>
                <c:pt idx="33">
                  <c:v>-0.333333333333333</c:v>
                </c:pt>
                <c:pt idx="34">
                  <c:v>0.5</c:v>
                </c:pt>
                <c:pt idx="35">
                  <c:v>-0.366666666666667</c:v>
                </c:pt>
                <c:pt idx="36">
                  <c:v>-0.263157894736842</c:v>
                </c:pt>
                <c:pt idx="37">
                  <c:v>-0.142857142857143</c:v>
                </c:pt>
                <c:pt idx="38">
                  <c:v>1.08333333333333</c:v>
                </c:pt>
                <c:pt idx="39">
                  <c:v>-0.52</c:v>
                </c:pt>
                <c:pt idx="40">
                  <c:v>-0.25</c:v>
                </c:pt>
                <c:pt idx="41">
                  <c:v>2.66666666666667</c:v>
                </c:pt>
                <c:pt idx="42">
                  <c:v>-0.0303030303030303</c:v>
                </c:pt>
                <c:pt idx="43">
                  <c:v>-0.59375</c:v>
                </c:pt>
                <c:pt idx="44">
                  <c:v>0.384615384615385</c:v>
                </c:pt>
                <c:pt idx="45">
                  <c:v>-0.222222222222222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1547136"/>
        <c:axId val="201545600"/>
      </c:lineChart>
      <c:catAx>
        <c:axId val="20153331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2019 -2020 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43680"/>
        <c:crosses val="autoZero"/>
        <c:auto val="1"/>
        <c:lblAlgn val="ctr"/>
        <c:lblOffset val="100"/>
        <c:noMultiLvlLbl val="0"/>
      </c:catAx>
      <c:valAx>
        <c:axId val="2015436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33312"/>
        <c:crosses val="autoZero"/>
        <c:crossBetween val="between"/>
      </c:valAx>
      <c:catAx>
        <c:axId val="20154713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45600"/>
        <c:crosses val="autoZero"/>
        <c:auto val="1"/>
        <c:lblAlgn val="ctr"/>
        <c:lblOffset val="100"/>
        <c:noMultiLvlLbl val="0"/>
      </c:catAx>
      <c:valAx>
        <c:axId val="201545600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4713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cap="none" baseline="0" dirty="0">
                <a:effectLst/>
              </a:rPr>
              <a:t>User Preferred Charging Destination</a:t>
            </a:r>
            <a:endParaRPr lang="zh-CN" altLang="zh-CN" cap="none" baseline="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485465620947599"/>
          <c:y val="0.0944517901985103"/>
          <c:w val="0.88298045754743"/>
          <c:h val="0.71878493129535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</c:strCache>
            </c:strRef>
          </c:cat>
          <c:val>
            <c:numRef>
              <c:f>Sheet1!$B$2:$B$47</c:f>
              <c:numCache>
                <c:formatCode>General</c:formatCode>
                <c:ptCount val="46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</c:v>
                </c:pt>
                <c:pt idx="9">
                  <c:v>5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</c:strCache>
            </c:strRef>
          </c:cat>
          <c:val>
            <c:numRef>
              <c:f>Sheet1!$C$2:$C$47</c:f>
              <c:numCache>
                <c:formatCode>General</c:formatCode>
                <c:ptCount val="46"/>
                <c:pt idx="0">
                  <c:v>0</c:v>
                </c:pt>
                <c:pt idx="1">
                  <c:v>3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1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</c:dPt>
          <c:dLbls>
            <c:delete val="1"/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</c:strCache>
            </c:strRef>
          </c:cat>
          <c:val>
            <c:numRef>
              <c:f>Sheet1!$D$2:$D$47</c:f>
              <c:numCache>
                <c:formatCode>General</c:formatCode>
                <c:ptCount val="46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3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</c:strCache>
            </c:strRef>
          </c:cat>
          <c:val>
            <c:numRef>
              <c:f>Sheet1!$E$2:$E$47</c:f>
              <c:numCache>
                <c:formatCode>General</c:formatCode>
                <c:ptCount val="4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</c:strCache>
            </c:strRef>
          </c:cat>
          <c:val>
            <c:numRef>
              <c:f>Sheet1!$F$2:$F$47</c:f>
              <c:numCache>
                <c:formatCode>General</c:formatCode>
                <c:ptCount val="4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6881920"/>
        <c:axId val="206901632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</c:strCache>
            </c:strRef>
          </c:cat>
          <c:val>
            <c:numRef>
              <c:f>Sheet1!$G$2:$G$47</c:f>
              <c:numCache>
                <c:formatCode>0%</c:formatCode>
                <c:ptCount val="46"/>
                <c:pt idx="0">
                  <c:v>#N/A</c:v>
                </c:pt>
                <c:pt idx="1">
                  <c:v>#N/A</c:v>
                </c:pt>
                <c:pt idx="2" c:formatCode="0.00%">
                  <c:v>0</c:v>
                </c:pt>
                <c:pt idx="3" c:formatCode="0.00%">
                  <c:v>0.125</c:v>
                </c:pt>
                <c:pt idx="4" c:formatCode="0.00%">
                  <c:v>0.111111111111111</c:v>
                </c:pt>
                <c:pt idx="5" c:formatCode="0.00%">
                  <c:v>0</c:v>
                </c:pt>
                <c:pt idx="6" c:formatCode="0.00%">
                  <c:v>0</c:v>
                </c:pt>
                <c:pt idx="7" c:formatCode="0.00%">
                  <c:v>0.1</c:v>
                </c:pt>
                <c:pt idx="8" c:formatCode="0.00%">
                  <c:v>0.0909090909090909</c:v>
                </c:pt>
                <c:pt idx="9" c:formatCode="0.00%">
                  <c:v>0.75</c:v>
                </c:pt>
                <c:pt idx="10" c:formatCode="0.00%">
                  <c:v>0.0952380952380952</c:v>
                </c:pt>
                <c:pt idx="11" c:formatCode="0.00%">
                  <c:v>0</c:v>
                </c:pt>
                <c:pt idx="12" c:formatCode="0.00%">
                  <c:v>0.0434782608695652</c:v>
                </c:pt>
                <c:pt idx="13" c:formatCode="0.00%">
                  <c:v>0</c:v>
                </c:pt>
                <c:pt idx="14" c:formatCode="0.00%">
                  <c:v>0.0833333333333333</c:v>
                </c:pt>
                <c:pt idx="15" c:formatCode="0.00%">
                  <c:v>0</c:v>
                </c:pt>
                <c:pt idx="16" c:formatCode="0.00%">
                  <c:v>0</c:v>
                </c:pt>
                <c:pt idx="17" c:formatCode="0.00%">
                  <c:v>0.0769230769230769</c:v>
                </c:pt>
                <c:pt idx="18" c:formatCode="0.00%">
                  <c:v>0</c:v>
                </c:pt>
                <c:pt idx="19" c:formatCode="0.00%">
                  <c:v>0</c:v>
                </c:pt>
                <c:pt idx="20" c:formatCode="0.00%">
                  <c:v>0</c:v>
                </c:pt>
                <c:pt idx="21" c:formatCode="0.00%">
                  <c:v>0</c:v>
                </c:pt>
                <c:pt idx="22" c:formatCode="0.00%">
                  <c:v>0</c:v>
                </c:pt>
                <c:pt idx="23" c:formatCode="0.00%">
                  <c:v>0</c:v>
                </c:pt>
                <c:pt idx="24" c:formatCode="0.00%">
                  <c:v>0</c:v>
                </c:pt>
                <c:pt idx="25" c:formatCode="0.00%">
                  <c:v>0</c:v>
                </c:pt>
                <c:pt idx="26" c:formatCode="0.00%">
                  <c:v>0.0357142857142857</c:v>
                </c:pt>
                <c:pt idx="27" c:formatCode="0.00%">
                  <c:v>0</c:v>
                </c:pt>
                <c:pt idx="28" c:formatCode="0.00%">
                  <c:v>0</c:v>
                </c:pt>
                <c:pt idx="29" c:formatCode="0.00%">
                  <c:v>0</c:v>
                </c:pt>
                <c:pt idx="30" c:formatCode="0.00%">
                  <c:v>0</c:v>
                </c:pt>
                <c:pt idx="31" c:formatCode="0.00%">
                  <c:v>0</c:v>
                </c:pt>
                <c:pt idx="32" c:formatCode="0.00%">
                  <c:v>0</c:v>
                </c:pt>
                <c:pt idx="33" c:formatCode="0.00%">
                  <c:v>0</c:v>
                </c:pt>
                <c:pt idx="34" c:formatCode="0.00%">
                  <c:v>0</c:v>
                </c:pt>
                <c:pt idx="35" c:formatCode="0.00%">
                  <c:v>0</c:v>
                </c:pt>
                <c:pt idx="36" c:formatCode="0.00%">
                  <c:v>0</c:v>
                </c:pt>
                <c:pt idx="37" c:formatCode="0.00%">
                  <c:v>0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0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</c:strCache>
            </c:strRef>
          </c:cat>
          <c:val>
            <c:numRef>
              <c:f>Sheet1!$H$2:$H$47</c:f>
              <c:numCache>
                <c:formatCode>0%</c:formatCode>
                <c:ptCount val="46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#N/A</c:v>
                </c:pt>
                <c:pt idx="3" c:formatCode="0.00%">
                  <c:v>0</c:v>
                </c:pt>
                <c:pt idx="4" c:formatCode="0.00%">
                  <c:v>-0.0123456790123456</c:v>
                </c:pt>
                <c:pt idx="5" c:formatCode="0.00%">
                  <c:v>-1</c:v>
                </c:pt>
                <c:pt idx="6" c:formatCode="0.00%">
                  <c:v>0</c:v>
                </c:pt>
                <c:pt idx="7" c:formatCode="0.00%">
                  <c:v>0</c:v>
                </c:pt>
                <c:pt idx="8" c:formatCode="0.00%">
                  <c:v>-0.00826446280991751</c:v>
                </c:pt>
                <c:pt idx="9" c:formatCode="0.00%">
                  <c:v>7.9375</c:v>
                </c:pt>
                <c:pt idx="10" c:formatCode="0.00%">
                  <c:v>-0.785103785103785</c:v>
                </c:pt>
                <c:pt idx="11" c:formatCode="0.00%">
                  <c:v>-1</c:v>
                </c:pt>
                <c:pt idx="12" c:formatCode="0.00%">
                  <c:v>0</c:v>
                </c:pt>
                <c:pt idx="13" c:formatCode="0.00%">
                  <c:v>-1</c:v>
                </c:pt>
                <c:pt idx="14" c:formatCode="0.00%">
                  <c:v>0</c:v>
                </c:pt>
                <c:pt idx="15" c:formatCode="0.00%">
                  <c:v>-1</c:v>
                </c:pt>
                <c:pt idx="16" c:formatCode="0.00%">
                  <c:v>0</c:v>
                </c:pt>
                <c:pt idx="17" c:formatCode="0.00%">
                  <c:v>0</c:v>
                </c:pt>
                <c:pt idx="18" c:formatCode="0.00%">
                  <c:v>-1</c:v>
                </c:pt>
                <c:pt idx="19" c:formatCode="0.00%">
                  <c:v>0</c:v>
                </c:pt>
                <c:pt idx="20" c:formatCode="0.00%">
                  <c:v>0</c:v>
                </c:pt>
                <c:pt idx="21" c:formatCode="0.00%">
                  <c:v>0</c:v>
                </c:pt>
                <c:pt idx="22" c:formatCode="0.00%">
                  <c:v>0</c:v>
                </c:pt>
                <c:pt idx="23" c:formatCode="0.00%">
                  <c:v>0</c:v>
                </c:pt>
                <c:pt idx="24" c:formatCode="0.00%">
                  <c:v>0</c:v>
                </c:pt>
                <c:pt idx="25" c:formatCode="0.00%">
                  <c:v>0</c:v>
                </c:pt>
                <c:pt idx="26" c:formatCode="0.00%">
                  <c:v>0</c:v>
                </c:pt>
                <c:pt idx="27" c:formatCode="0.00%">
                  <c:v>-1</c:v>
                </c:pt>
                <c:pt idx="28" c:formatCode="0.00%">
                  <c:v>0</c:v>
                </c:pt>
                <c:pt idx="29" c:formatCode="0.00%">
                  <c:v>0</c:v>
                </c:pt>
                <c:pt idx="30" c:formatCode="0.00%">
                  <c:v>0</c:v>
                </c:pt>
                <c:pt idx="31" c:formatCode="0.00%">
                  <c:v>0</c:v>
                </c:pt>
                <c:pt idx="32" c:formatCode="0.00%">
                  <c:v>0</c:v>
                </c:pt>
                <c:pt idx="33" c:formatCode="0.00%">
                  <c:v>0</c:v>
                </c:pt>
                <c:pt idx="34" c:formatCode="0.00%">
                  <c:v>0</c:v>
                </c:pt>
                <c:pt idx="35" c:formatCode="0.00%">
                  <c:v>0</c:v>
                </c:pt>
                <c:pt idx="36" c:formatCode="0.00%">
                  <c:v>0</c:v>
                </c:pt>
                <c:pt idx="37" c:formatCode="0.00%">
                  <c:v>0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0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926976"/>
        <c:axId val="206904320"/>
      </c:lineChart>
      <c:catAx>
        <c:axId val="20688192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 </a:t>
                </a: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901632"/>
        <c:crosses val="autoZero"/>
        <c:auto val="1"/>
        <c:lblAlgn val="ctr"/>
        <c:lblOffset val="100"/>
        <c:noMultiLvlLbl val="0"/>
      </c:catAx>
      <c:valAx>
        <c:axId val="20690163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81920"/>
        <c:crosses val="autoZero"/>
        <c:crossBetween val="between"/>
      </c:valAx>
      <c:catAx>
        <c:axId val="2069269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904320"/>
        <c:crosses val="autoZero"/>
        <c:auto val="1"/>
        <c:lblAlgn val="ctr"/>
        <c:lblOffset val="100"/>
        <c:noMultiLvlLbl val="0"/>
      </c:catAx>
      <c:valAx>
        <c:axId val="206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92697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Selected Times</a:t>
            </a:r>
            <a:endParaRPr lang="en-US" sz="18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15815104159403"/>
          <c:y val="0.115678480742669"/>
          <c:w val="0.77742429651612"/>
          <c:h val="0.60018429761497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</c:strCache>
            </c:strRef>
          </c:cat>
          <c:val>
            <c:numRef>
              <c:f>Sheet1!$B$2:$B$47</c:f>
              <c:numCache>
                <c:formatCode>General</c:formatCode>
                <c:ptCount val="46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</c:v>
                </c:pt>
                <c:pt idx="9">
                  <c:v>5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</c:strCache>
            </c:strRef>
          </c:cat>
          <c:val>
            <c:numRef>
              <c:f>Sheet1!$C$2:$C$47</c:f>
              <c:numCache>
                <c:formatCode>General</c:formatCode>
                <c:ptCount val="46"/>
                <c:pt idx="0">
                  <c:v>0</c:v>
                </c:pt>
                <c:pt idx="1">
                  <c:v>3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1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</c:strCache>
            </c:strRef>
          </c:cat>
          <c:val>
            <c:numRef>
              <c:f>Sheet1!$D$2:$D$47</c:f>
              <c:numCache>
                <c:formatCode>General</c:formatCode>
                <c:ptCount val="46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3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</c:strCache>
            </c:strRef>
          </c:cat>
          <c:val>
            <c:numRef>
              <c:f>Sheet1!$E$2:$E$47</c:f>
              <c:numCache>
                <c:formatCode>General</c:formatCode>
                <c:ptCount val="4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</c:strCache>
            </c:strRef>
          </c:cat>
          <c:val>
            <c:numRef>
              <c:f>Sheet1!$F$2:$F$47</c:f>
              <c:numCache>
                <c:formatCode>General</c:formatCode>
                <c:ptCount val="4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14927232"/>
        <c:axId val="214947328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Average Weekly Selected Tim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</c:strCache>
            </c:strRef>
          </c:cat>
          <c:val>
            <c:numRef>
              <c:f>Sheet1!$G$2:$G$47</c:f>
              <c:numCache>
                <c:formatCode>0</c:formatCode>
                <c:ptCount val="46"/>
                <c:pt idx="0">
                  <c:v>3</c:v>
                </c:pt>
                <c:pt idx="1">
                  <c:v>4</c:v>
                </c:pt>
                <c:pt idx="2">
                  <c:v>2.66666666666667</c:v>
                </c:pt>
                <c:pt idx="3">
                  <c:v>2.25</c:v>
                </c:pt>
                <c:pt idx="4">
                  <c:v>2</c:v>
                </c:pt>
                <c:pt idx="5">
                  <c:v>1.66666666666667</c:v>
                </c:pt>
                <c:pt idx="6">
                  <c:v>1.42857142857143</c:v>
                </c:pt>
                <c:pt idx="7">
                  <c:v>1.375</c:v>
                </c:pt>
                <c:pt idx="8">
                  <c:v>1.33333333333333</c:v>
                </c:pt>
                <c:pt idx="9">
                  <c:v>2.1</c:v>
                </c:pt>
                <c:pt idx="10">
                  <c:v>2.09090909090909</c:v>
                </c:pt>
                <c:pt idx="11">
                  <c:v>1.91666666666667</c:v>
                </c:pt>
                <c:pt idx="12">
                  <c:v>1.84615384615385</c:v>
                </c:pt>
                <c:pt idx="13">
                  <c:v>1.71428571428571</c:v>
                </c:pt>
                <c:pt idx="14">
                  <c:v>1.73333333333333</c:v>
                </c:pt>
                <c:pt idx="15">
                  <c:v>1.625</c:v>
                </c:pt>
                <c:pt idx="16">
                  <c:v>1.52941176470588</c:v>
                </c:pt>
                <c:pt idx="17">
                  <c:v>1.55555555555556</c:v>
                </c:pt>
                <c:pt idx="18">
                  <c:v>1.47368421052632</c:v>
                </c:pt>
                <c:pt idx="19">
                  <c:v>1.4</c:v>
                </c:pt>
                <c:pt idx="20">
                  <c:v>1.33333333333333</c:v>
                </c:pt>
                <c:pt idx="21">
                  <c:v>1.27272727272727</c:v>
                </c:pt>
                <c:pt idx="22">
                  <c:v>1.21739130434783</c:v>
                </c:pt>
                <c:pt idx="23">
                  <c:v>1.16666666666667</c:v>
                </c:pt>
                <c:pt idx="24">
                  <c:v>1.12</c:v>
                </c:pt>
                <c:pt idx="25">
                  <c:v>1.07692307692308</c:v>
                </c:pt>
                <c:pt idx="26">
                  <c:v>1.07407407407407</c:v>
                </c:pt>
                <c:pt idx="27">
                  <c:v>1.03571428571429</c:v>
                </c:pt>
                <c:pt idx="28">
                  <c:v>1</c:v>
                </c:pt>
                <c:pt idx="29">
                  <c:v>0.966666666666667</c:v>
                </c:pt>
                <c:pt idx="30">
                  <c:v>0.935483870967742</c:v>
                </c:pt>
                <c:pt idx="31">
                  <c:v>0.90625</c:v>
                </c:pt>
                <c:pt idx="32">
                  <c:v>0.878787878787879</c:v>
                </c:pt>
                <c:pt idx="33">
                  <c:v>0.852941176470588</c:v>
                </c:pt>
                <c:pt idx="34">
                  <c:v>0.828571428571429</c:v>
                </c:pt>
                <c:pt idx="35">
                  <c:v>0.805555555555556</c:v>
                </c:pt>
                <c:pt idx="36">
                  <c:v>0.783783783783784</c:v>
                </c:pt>
                <c:pt idx="37">
                  <c:v>0.763157894736842</c:v>
                </c:pt>
                <c:pt idx="38">
                  <c:v>0.743589743589744</c:v>
                </c:pt>
                <c:pt idx="39">
                  <c:v>0.725</c:v>
                </c:pt>
                <c:pt idx="40">
                  <c:v>0.707317073170732</c:v>
                </c:pt>
                <c:pt idx="41">
                  <c:v>0.69047619047619</c:v>
                </c:pt>
                <c:pt idx="42">
                  <c:v>0.674418604651163</c:v>
                </c:pt>
                <c:pt idx="43">
                  <c:v>0.659090909090909</c:v>
                </c:pt>
                <c:pt idx="44">
                  <c:v>0.644444444444444</c:v>
                </c:pt>
                <c:pt idx="45">
                  <c:v>0.63043478260869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5616128"/>
        <c:axId val="214991232"/>
      </c:lineChart>
      <c:dateAx>
        <c:axId val="214927232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 </a:t>
                </a: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47328"/>
        <c:crosses val="autoZero"/>
        <c:auto val="0"/>
        <c:lblAlgn val="ctr"/>
        <c:lblOffset val="100"/>
        <c:baseTimeUnit val="days"/>
      </c:dateAx>
      <c:valAx>
        <c:axId val="2149473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27232"/>
        <c:crosses val="autoZero"/>
        <c:crossBetween val="between"/>
      </c:valAx>
      <c:catAx>
        <c:axId val="21561612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91232"/>
        <c:crosses val="autoZero"/>
        <c:auto val="1"/>
        <c:lblAlgn val="ctr"/>
        <c:lblOffset val="100"/>
        <c:noMultiLvlLbl val="0"/>
      </c:catAx>
      <c:valAx>
        <c:axId val="214991232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561612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545185236062781"/>
          <c:y val="0.847384307224755"/>
          <c:w val="0.909733861509139"/>
          <c:h val="0.13507183312612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baseline="0" dirty="0">
                <a:effectLst/>
                <a:latin typeface="+mn-lt"/>
              </a:rPr>
              <a:t>Average Daily Selected Times</a:t>
            </a:r>
            <a:endParaRPr lang="en-US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46760043506126"/>
          <c:y val="0.126498595570291"/>
          <c:w val="0.769824775424199"/>
          <c:h val="0.56981581249712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G$1</c:f>
              <c:strCache>
                <c:ptCount val="1"/>
                <c:pt idx="0">
                  <c:v>Average Daily Food 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</c:strCache>
            </c:strRef>
          </c:cat>
          <c:val>
            <c:numRef>
              <c:f>Sheet1!$G$2:$G$47</c:f>
              <c:numCache>
                <c:formatCode>0.00</c:formatCode>
                <c:ptCount val="46"/>
                <c:pt idx="0">
                  <c:v>1</c:v>
                </c:pt>
                <c:pt idx="1">
                  <c:v>0.142857142857143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.142857142857143</c:v>
                </c:pt>
                <c:pt idx="9">
                  <c:v>0.714285714285714</c:v>
                </c:pt>
                <c:pt idx="10">
                  <c:v>0.142857142857143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.142857142857143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H$1</c:f>
              <c:strCache>
                <c:ptCount val="1"/>
                <c:pt idx="0">
                  <c:v>Average Daily Shopping</c:v>
                </c:pt>
              </c:strCache>
            </c:strRef>
          </c:tx>
          <c:spPr>
            <a:solidFill>
              <a:srgbClr val="4C4C4C"/>
            </a:solidFill>
            <a:ln>
              <a:solidFill>
                <a:srgbClr val="4C4C4C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</c:strCache>
            </c:strRef>
          </c:cat>
          <c:val>
            <c:numRef>
              <c:f>Sheet1!$H$2:$H$47</c:f>
              <c:numCache>
                <c:formatCode>0.00</c:formatCode>
                <c:ptCount val="46"/>
                <c:pt idx="0">
                  <c:v>0</c:v>
                </c:pt>
                <c:pt idx="1">
                  <c:v>0.428571428571429</c:v>
                </c:pt>
                <c:pt idx="2">
                  <c:v>0</c:v>
                </c:pt>
                <c:pt idx="3">
                  <c:v>0.142857142857143</c:v>
                </c:pt>
                <c:pt idx="4">
                  <c:v>0.142857142857143</c:v>
                </c:pt>
                <c:pt idx="5">
                  <c:v>0</c:v>
                </c:pt>
                <c:pt idx="6">
                  <c:v>0</c:v>
                </c:pt>
                <c:pt idx="7">
                  <c:v>0.142857142857143</c:v>
                </c:pt>
                <c:pt idx="8">
                  <c:v>0</c:v>
                </c:pt>
                <c:pt idx="9">
                  <c:v>0.142857142857143</c:v>
                </c:pt>
                <c:pt idx="10">
                  <c:v>0.142857142857143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142857142857143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I$1</c:f>
              <c:strCache>
                <c:ptCount val="1"/>
                <c:pt idx="0">
                  <c:v>Average Daily Fun 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</c:strCache>
            </c:strRef>
          </c:cat>
          <c:val>
            <c:numRef>
              <c:f>Sheet1!$I$2:$I$47</c:f>
              <c:numCache>
                <c:formatCode>0.00</c:formatCode>
                <c:ptCount val="46"/>
                <c:pt idx="0">
                  <c:v>0.5</c:v>
                </c:pt>
                <c:pt idx="1">
                  <c:v>0.142857142857143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.428571428571429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.142857142857143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J$1</c:f>
              <c:strCache>
                <c:ptCount val="1"/>
                <c:pt idx="0">
                  <c:v>Average Daily 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</c:strCache>
            </c:strRef>
          </c:cat>
          <c:val>
            <c:numRef>
              <c:f>Sheet1!$J$2:$J$47</c:f>
              <c:numCache>
                <c:formatCode>0.00</c:formatCode>
                <c:ptCount val="4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.142857142857143</c:v>
                </c:pt>
                <c:pt idx="13">
                  <c:v>0</c:v>
                </c:pt>
                <c:pt idx="14">
                  <c:v>0.142857142857143</c:v>
                </c:pt>
                <c:pt idx="15">
                  <c:v>0</c:v>
                </c:pt>
                <c:pt idx="16">
                  <c:v>0</c:v>
                </c:pt>
                <c:pt idx="17">
                  <c:v>0.142857142857143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K$1</c:f>
              <c:strCache>
                <c:ptCount val="1"/>
                <c:pt idx="0">
                  <c:v>Average Daily 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</c:strCache>
            </c:strRef>
          </c:cat>
          <c:val>
            <c:numRef>
              <c:f>Sheet1!$K$2:$K$47</c:f>
              <c:numCache>
                <c:formatCode>0.00</c:formatCode>
                <c:ptCount val="4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5"/>
        <c:overlap val="100"/>
        <c:axId val="216661376"/>
        <c:axId val="216729472"/>
      </c:barChart>
      <c:lineChart>
        <c:grouping val="standard"/>
        <c:varyColors val="0"/>
        <c:ser>
          <c:idx val="5"/>
          <c:order val="5"/>
          <c:tx>
            <c:strRef>
              <c:f>Sheet1!$L$1</c:f>
              <c:strCache>
                <c:ptCount val="1"/>
                <c:pt idx="0">
                  <c:v>Average Daily Selected Tim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2"/>
              <c:delete val="1"/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11"/>
              <c:delete val="1"/>
            </c:dLbl>
            <c:dLbl>
              <c:idx val="13"/>
              <c:delete val="1"/>
            </c:dLbl>
            <c:dLbl>
              <c:idx val="15"/>
              <c:delete val="1"/>
            </c:dLbl>
            <c:dLbl>
              <c:idx val="16"/>
              <c:delete val="1"/>
            </c:dLbl>
            <c:dLbl>
              <c:idx val="18"/>
              <c:delete val="1"/>
            </c:dLbl>
            <c:dLbl>
              <c:idx val="19"/>
              <c:delete val="1"/>
            </c:dLbl>
            <c:dLbl>
              <c:idx val="20"/>
              <c:delete val="1"/>
            </c:dLbl>
            <c:dLbl>
              <c:idx val="21"/>
              <c:delete val="1"/>
            </c:dLbl>
            <c:dLbl>
              <c:idx val="22"/>
              <c:delete val="1"/>
            </c:dLbl>
            <c:dLbl>
              <c:idx val="23"/>
              <c:delete val="1"/>
            </c:dLbl>
            <c:dLbl>
              <c:idx val="24"/>
              <c:delete val="1"/>
            </c:dLbl>
            <c:dLbl>
              <c:idx val="25"/>
              <c:delete val="1"/>
            </c:dLbl>
            <c:dLbl>
              <c:idx val="27"/>
              <c:delete val="1"/>
            </c:dLbl>
            <c:dLbl>
              <c:idx val="28"/>
              <c:delete val="1"/>
            </c:dLbl>
            <c:dLbl>
              <c:idx val="29"/>
              <c:delete val="1"/>
            </c:dLbl>
            <c:dLbl>
              <c:idx val="30"/>
              <c:delete val="1"/>
            </c:dLbl>
            <c:dLbl>
              <c:idx val="31"/>
              <c:delete val="1"/>
            </c:dLbl>
            <c:dLbl>
              <c:idx val="32"/>
              <c:delete val="1"/>
            </c:dLbl>
            <c:dLbl>
              <c:idx val="33"/>
              <c:delete val="1"/>
            </c:dLbl>
            <c:dLbl>
              <c:idx val="34"/>
              <c:delete val="1"/>
            </c:dLbl>
            <c:dLbl>
              <c:idx val="35"/>
              <c:delete val="1"/>
            </c:dLbl>
            <c:dLbl>
              <c:idx val="36"/>
              <c:delete val="1"/>
            </c:dLbl>
            <c:dLbl>
              <c:idx val="37"/>
              <c:delete val="1"/>
            </c:dLbl>
            <c:dLbl>
              <c:idx val="38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</c:strCache>
            </c:strRef>
          </c:cat>
          <c:val>
            <c:numRef>
              <c:f>Sheet1!$L$2:$L$47</c:f>
              <c:numCache>
                <c:formatCode>0.00</c:formatCode>
                <c:ptCount val="46"/>
                <c:pt idx="0">
                  <c:v>1.5</c:v>
                </c:pt>
                <c:pt idx="1">
                  <c:v>0.714285714285714</c:v>
                </c:pt>
                <c:pt idx="2">
                  <c:v>0</c:v>
                </c:pt>
                <c:pt idx="3">
                  <c:v>0.142857142857143</c:v>
                </c:pt>
                <c:pt idx="4">
                  <c:v>0.142857142857143</c:v>
                </c:pt>
                <c:pt idx="5">
                  <c:v>0</c:v>
                </c:pt>
                <c:pt idx="6">
                  <c:v>0</c:v>
                </c:pt>
                <c:pt idx="7">
                  <c:v>0.142857142857143</c:v>
                </c:pt>
                <c:pt idx="8">
                  <c:v>0.142857142857143</c:v>
                </c:pt>
                <c:pt idx="9">
                  <c:v>1.28571428571429</c:v>
                </c:pt>
                <c:pt idx="10">
                  <c:v>0.285714285714286</c:v>
                </c:pt>
                <c:pt idx="11">
                  <c:v>0</c:v>
                </c:pt>
                <c:pt idx="12">
                  <c:v>0.142857142857143</c:v>
                </c:pt>
                <c:pt idx="13">
                  <c:v>0</c:v>
                </c:pt>
                <c:pt idx="14">
                  <c:v>0.285714285714286</c:v>
                </c:pt>
                <c:pt idx="15">
                  <c:v>0</c:v>
                </c:pt>
                <c:pt idx="16">
                  <c:v>0</c:v>
                </c:pt>
                <c:pt idx="17">
                  <c:v>0.285714285714286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142857142857143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6898560"/>
        <c:axId val="216897024"/>
      </c:lineChart>
      <c:dateAx>
        <c:axId val="21666137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330" b="0" i="0" u="none" strike="noStrike" baseline="0" dirty="0">
                    <a:effectLst/>
                  </a:rPr>
                  <a:t>2019-2020 </a:t>
                </a:r>
                <a:r>
                  <a:rPr lang="en-US" sz="1200" dirty="0"/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729472"/>
        <c:crosses val="autoZero"/>
        <c:auto val="0"/>
        <c:lblAlgn val="ctr"/>
        <c:lblOffset val="100"/>
        <c:baseTimeUnit val="days"/>
      </c:dateAx>
      <c:valAx>
        <c:axId val="216729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Amount</a:t>
                </a:r>
                <a:endParaRPr 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661376"/>
        <c:crosses val="autoZero"/>
        <c:crossBetween val="between"/>
      </c:valAx>
      <c:catAx>
        <c:axId val="2168985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897024"/>
        <c:crosses val="autoZero"/>
        <c:auto val="1"/>
        <c:lblAlgn val="ctr"/>
        <c:lblOffset val="100"/>
        <c:noMultiLvlLbl val="0"/>
      </c:catAx>
      <c:valAx>
        <c:axId val="216897024"/>
        <c:scaling>
          <c:orientation val="minMax"/>
        </c:scaling>
        <c:delete val="0"/>
        <c:axPos val="r"/>
        <c:numFmt formatCode="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89856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1415104802041"/>
          <c:y val="0.806448634710135"/>
          <c:w val="0.764031789255902"/>
          <c:h val="0.19355136528986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zh-CN" sz="1860" b="0" i="0" u="none" strike="noStrike" kern="1200" spc="0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Monthly User Preferred Charging Destination</a:t>
            </a:r>
            <a:r>
              <a:rPr lang="en-US" altLang="zh-CN" sz="1800" b="0" i="0" baseline="0" dirty="0">
                <a:solidFill>
                  <a:srgbClr val="FF0000"/>
                </a:solidFill>
                <a:effectLst/>
              </a:rPr>
              <a:t> </a:t>
            </a:r>
            <a:endParaRPr lang="zh-CN" altLang="zh-CN" sz="1800" b="0" i="0" u="none" strike="noStrike" kern="1200" spc="0" baseline="0" dirty="0">
              <a:solidFill>
                <a:srgbClr val="FF0000"/>
              </a:solidFill>
              <a:effectLst/>
              <a:latin typeface="+mn-lt"/>
              <a:ea typeface="+mn-ea"/>
              <a:cs typeface="+mn-cs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01665810292232"/>
          <c:y val="0.167681444710715"/>
          <c:w val="0.824451758345022"/>
          <c:h val="0.4668883373273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3</c:v>
                </c:pt>
                <c:pt idx="1">
                  <c:v>0</c:v>
                </c:pt>
                <c:pt idx="2">
                  <c:v>7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C$2:$C$12</c:f>
              <c:numCache>
                <c:formatCode>General</c:formatCode>
                <c:ptCount val="11"/>
                <c:pt idx="0">
                  <c:v>3</c:v>
                </c:pt>
                <c:pt idx="1">
                  <c:v>3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</c:dLbl>
            <c:dLbl>
              <c:idx val="3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D$2:$D$12</c:f>
              <c:numCache>
                <c:formatCode>General</c:formatCode>
                <c:ptCount val="11"/>
                <c:pt idx="0">
                  <c:v>2</c:v>
                </c:pt>
                <c:pt idx="1">
                  <c:v>0</c:v>
                </c:pt>
                <c:pt idx="2">
                  <c:v>3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3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7"/>
              <c:delete val="1"/>
            </c:dLbl>
            <c:dLbl>
              <c:idx val="8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E$2:$E$12</c:f>
              <c:numCache>
                <c:formatCode>General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2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F$2:$F$12</c:f>
              <c:numCache>
                <c:formatCode>General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61302528"/>
        <c:axId val="261375488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 cmpd="sng" algn="ctr">
              <a:solidFill>
                <a:srgbClr val="E2BCBF"/>
              </a:solidFill>
              <a:prstDash val="solid"/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prstDash val="solid"/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G$2:$G$12</c:f>
              <c:numCache>
                <c:formatCode>General</c:formatCode>
                <c:ptCount val="11"/>
                <c:pt idx="0">
                  <c:v>#N/A</c:v>
                </c:pt>
                <c:pt idx="1" c:formatCode="0%">
                  <c:v>0.375</c:v>
                </c:pt>
                <c:pt idx="2" c:formatCode="0%">
                  <c:v>1.09090909090909</c:v>
                </c:pt>
                <c:pt idx="3" c:formatCode="0%">
                  <c:v>0.130434782608696</c:v>
                </c:pt>
                <c:pt idx="4" c:formatCode="0%">
                  <c:v>0.0769230769230769</c:v>
                </c:pt>
                <c:pt idx="5" c:formatCode="0%">
                  <c:v>0</c:v>
                </c:pt>
                <c:pt idx="6" c:formatCode="0%">
                  <c:v>0.0357142857142857</c:v>
                </c:pt>
                <c:pt idx="7" c:formatCode="0%">
                  <c:v>0</c:v>
                </c:pt>
                <c:pt idx="8" c:formatCode="0%">
                  <c:v>0</c:v>
                </c:pt>
                <c:pt idx="9" c:formatCode="0%">
                  <c:v>0</c:v>
                </c:pt>
                <c:pt idx="10" c:formatCode="0%">
                  <c:v>0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 cmpd="sng" algn="ctr">
              <a:solidFill>
                <a:srgbClr val="898989"/>
              </a:solidFill>
              <a:prstDash val="solid"/>
              <a:round/>
            </a:ln>
            <a:effectLst/>
          </c:spPr>
          <c:marker>
            <c:symbol val="diamond"/>
            <c:size val="7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prstDash val="solid"/>
                <a:round/>
              </a:ln>
              <a:effectLst/>
            </c:spPr>
          </c:marker>
          <c:dLbls>
            <c:dLbl>
              <c:idx val="6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H$2:$H$12</c:f>
              <c:numCache>
                <c:formatCode>General</c:formatCode>
                <c:ptCount val="11"/>
                <c:pt idx="0">
                  <c:v>#N/A</c:v>
                </c:pt>
                <c:pt idx="1" c:formatCode="0%">
                  <c:v>-0.625</c:v>
                </c:pt>
                <c:pt idx="2" c:formatCode="0%">
                  <c:v>3</c:v>
                </c:pt>
                <c:pt idx="3" c:formatCode="0%">
                  <c:v>-0.75</c:v>
                </c:pt>
                <c:pt idx="4" c:formatCode="0%">
                  <c:v>-0.333333333333333</c:v>
                </c:pt>
                <c:pt idx="5" c:formatCode="0%">
                  <c:v>-1</c:v>
                </c:pt>
                <c:pt idx="6" c:formatCode="0%">
                  <c:v>0</c:v>
                </c:pt>
                <c:pt idx="7" c:formatCode="0%">
                  <c:v>-1</c:v>
                </c:pt>
                <c:pt idx="8" c:formatCode="0%">
                  <c:v>0</c:v>
                </c:pt>
                <c:pt idx="9" c:formatCode="0%">
                  <c:v>0</c:v>
                </c:pt>
                <c:pt idx="10" c:formatCode="0%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1477504"/>
        <c:axId val="261377408"/>
      </c:lineChart>
      <c:catAx>
        <c:axId val="26130252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Month</a:t>
                </a:r>
                <a:endParaRPr lang="zh-CN" altLang="en-US" sz="1200" dirty="0">
                  <a:solidFill>
                    <a:schemeClr val="tx1"/>
                  </a:solidFill>
                </a:endParaRPr>
              </a:p>
            </c:rich>
          </c:tx>
          <c:layout>
            <c:manualLayout>
              <c:xMode val="edge"/>
              <c:yMode val="edge"/>
              <c:x val="0.408925662016277"/>
              <c:y val="0.798416048868161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375488"/>
        <c:crosses val="autoZero"/>
        <c:auto val="1"/>
        <c:lblAlgn val="ctr"/>
        <c:lblOffset val="100"/>
        <c:noMultiLvlLbl val="0"/>
      </c:catAx>
      <c:valAx>
        <c:axId val="2613754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302528"/>
        <c:crosses val="autoZero"/>
        <c:crossBetween val="between"/>
      </c:valAx>
      <c:catAx>
        <c:axId val="2614775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  <c:crossAx val="261377408"/>
        <c:crosses val="autoZero"/>
        <c:auto val="1"/>
        <c:lblAlgn val="ctr"/>
        <c:lblOffset val="100"/>
        <c:noMultiLvlLbl val="0"/>
      </c:catAx>
      <c:valAx>
        <c:axId val="261377408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775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785434951236877"/>
          <c:y val="0.844069798254298"/>
          <c:w val="0.784165868155369"/>
          <c:h val="0.15593033207805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rgbClr val="4C4C4C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Recommended Time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617200207847325"/>
          <c:y val="0.154546665122742"/>
          <c:w val="0.864729043994693"/>
          <c:h val="0.68012081210436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</c:strCache>
            </c:strRef>
          </c:cat>
          <c:val>
            <c:numRef>
              <c:f>Sheet1!$B$2:$B$47</c:f>
              <c:numCache>
                <c:formatCode>General</c:formatCode>
                <c:ptCount val="46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61961216"/>
        <c:axId val="26200179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dLbl>
              <c:idx val="6"/>
              <c:layout>
                <c:manualLayout>
                  <c:x val="-0.0560575977702605"/>
                  <c:y val="-0.0147058823529412"/>
                </c:manualLayout>
              </c:layout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8C8C8C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0391099519327399"/>
                      <c:h val="0.0346201945345067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</c:strCache>
            </c:strRef>
          </c:cat>
          <c:val>
            <c:numRef>
              <c:f>Sheet1!$C$2:$C$47</c:f>
              <c:numCache>
                <c:formatCode>0%</c:formatCode>
                <c:ptCount val="46"/>
                <c:pt idx="0">
                  <c:v>#N/A</c:v>
                </c:pt>
                <c:pt idx="1">
                  <c:v>#N/A</c:v>
                </c:pt>
                <c:pt idx="2" c:formatCode="0.00%">
                  <c:v>0.6</c:v>
                </c:pt>
                <c:pt idx="3" c:formatCode="0.00%">
                  <c:v>0.25</c:v>
                </c:pt>
                <c:pt idx="4" c:formatCode="0.00%">
                  <c:v>0.6</c:v>
                </c:pt>
                <c:pt idx="5" c:formatCode="0.00%">
                  <c:v>0</c:v>
                </c:pt>
                <c:pt idx="6" c:formatCode="0.00%">
                  <c:v>0.25</c:v>
                </c:pt>
                <c:pt idx="7" c:formatCode="0.00%">
                  <c:v>0.1</c:v>
                </c:pt>
                <c:pt idx="8" c:formatCode="0.00%">
                  <c:v>0.0454545454545455</c:v>
                </c:pt>
                <c:pt idx="9" c:formatCode="0.00%">
                  <c:v>0.478260869565217</c:v>
                </c:pt>
                <c:pt idx="10" c:formatCode="0.00%">
                  <c:v>0.147058823529412</c:v>
                </c:pt>
                <c:pt idx="11" c:formatCode="0.00%">
                  <c:v>0.0512820512820513</c:v>
                </c:pt>
                <c:pt idx="12" c:formatCode="0.00%">
                  <c:v>0.0487804878048781</c:v>
                </c:pt>
                <c:pt idx="13" c:formatCode="0.00%">
                  <c:v>0.0232558139534884</c:v>
                </c:pt>
                <c:pt idx="14" c:formatCode="0.00%">
                  <c:v>0.0227272727272727</c:v>
                </c:pt>
                <c:pt idx="15" c:formatCode="0.00%">
                  <c:v>0</c:v>
                </c:pt>
                <c:pt idx="16" c:formatCode="0.00%">
                  <c:v>0.0222222222222222</c:v>
                </c:pt>
                <c:pt idx="17" c:formatCode="0.00%">
                  <c:v>0</c:v>
                </c:pt>
                <c:pt idx="18" c:formatCode="0.00%">
                  <c:v>0.0217391304347826</c:v>
                </c:pt>
                <c:pt idx="19" c:formatCode="0.00%">
                  <c:v>0.0425531914893617</c:v>
                </c:pt>
                <c:pt idx="20" c:formatCode="0.00%">
                  <c:v>0.0204081632653061</c:v>
                </c:pt>
                <c:pt idx="21" c:formatCode="0.00%">
                  <c:v>0.02</c:v>
                </c:pt>
                <c:pt idx="22" c:formatCode="0.00%">
                  <c:v>0</c:v>
                </c:pt>
                <c:pt idx="23" c:formatCode="0.00%">
                  <c:v>0</c:v>
                </c:pt>
                <c:pt idx="24" c:formatCode="0.00%">
                  <c:v>0.0392156862745098</c:v>
                </c:pt>
                <c:pt idx="25" c:formatCode="0.00%">
                  <c:v>0.0377358490566038</c:v>
                </c:pt>
                <c:pt idx="26" c:formatCode="0.00%">
                  <c:v>0</c:v>
                </c:pt>
                <c:pt idx="27" c:formatCode="0.00%">
                  <c:v>0</c:v>
                </c:pt>
                <c:pt idx="28" c:formatCode="0.00%">
                  <c:v>0.0545454545454545</c:v>
                </c:pt>
                <c:pt idx="29" c:formatCode="0.00%">
                  <c:v>0.0517241379310345</c:v>
                </c:pt>
                <c:pt idx="30" c:formatCode="0.00%">
                  <c:v>0.0163934426229508</c:v>
                </c:pt>
                <c:pt idx="31" c:formatCode="0.00%">
                  <c:v>0.0161290322580645</c:v>
                </c:pt>
                <c:pt idx="32" c:formatCode="0.00%">
                  <c:v>0.0158730158730159</c:v>
                </c:pt>
                <c:pt idx="33" c:formatCode="0.00%">
                  <c:v>0.015625</c:v>
                </c:pt>
                <c:pt idx="34" c:formatCode="0.00%">
                  <c:v>0.0307692307692308</c:v>
                </c:pt>
                <c:pt idx="35" c:formatCode="0.00%">
                  <c:v>0</c:v>
                </c:pt>
                <c:pt idx="36" c:formatCode="0.00%">
                  <c:v>0.0149253731343284</c:v>
                </c:pt>
                <c:pt idx="37" c:formatCode="0.00%">
                  <c:v>0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.0147058823529412</c:v>
                </c:pt>
                <c:pt idx="42" c:formatCode="0.00%">
                  <c:v>0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dLbl>
              <c:idx val="6"/>
              <c:layout>
                <c:manualLayout>
                  <c:x val="-0.0560575977702605"/>
                  <c:y val="0.041666666666666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2"/>
              <c:layout>
                <c:manualLayout>
                  <c:x val="-0.0495392724481371"/>
                  <c:y val="0.026960784313725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>
                <c:manualLayout>
                  <c:x val="-0.0469319423192878"/>
                  <c:y val="0.026960784313725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</c:strCache>
            </c:strRef>
          </c:cat>
          <c:val>
            <c:numRef>
              <c:f>Sheet1!$D$2:$D$47</c:f>
              <c:numCache>
                <c:formatCode>0%</c:formatCode>
                <c:ptCount val="46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-0.4</c:v>
                </c:pt>
                <c:pt idx="3" c:formatCode="0.00%">
                  <c:v>-0.333333333333333</c:v>
                </c:pt>
                <c:pt idx="4" c:formatCode="0.00%">
                  <c:v>2</c:v>
                </c:pt>
                <c:pt idx="5" c:formatCode="0.00%">
                  <c:v>-1</c:v>
                </c:pt>
                <c:pt idx="6" c:formatCode="0.00%">
                  <c:v>0</c:v>
                </c:pt>
                <c:pt idx="7" c:formatCode="0.00%">
                  <c:v>-0.5</c:v>
                </c:pt>
                <c:pt idx="8" c:formatCode="0.00%">
                  <c:v>-0.5</c:v>
                </c:pt>
                <c:pt idx="9" c:formatCode="0.00%">
                  <c:v>10</c:v>
                </c:pt>
                <c:pt idx="10" c:formatCode="0.00%">
                  <c:v>-0.545454545454545</c:v>
                </c:pt>
                <c:pt idx="11" c:formatCode="0.00%">
                  <c:v>-0.6</c:v>
                </c:pt>
                <c:pt idx="12" c:formatCode="0.00%">
                  <c:v>0</c:v>
                </c:pt>
                <c:pt idx="13" c:formatCode="0.00%">
                  <c:v>-0.5</c:v>
                </c:pt>
                <c:pt idx="14" c:formatCode="0.00%">
                  <c:v>0</c:v>
                </c:pt>
                <c:pt idx="15" c:formatCode="0.00%">
                  <c:v>-1</c:v>
                </c:pt>
                <c:pt idx="16" c:formatCode="0.00%">
                  <c:v>0</c:v>
                </c:pt>
                <c:pt idx="17" c:formatCode="0.00%">
                  <c:v>-1</c:v>
                </c:pt>
                <c:pt idx="18" c:formatCode="0.00%">
                  <c:v>0</c:v>
                </c:pt>
                <c:pt idx="19" c:formatCode="0.00%">
                  <c:v>1</c:v>
                </c:pt>
                <c:pt idx="20" c:formatCode="0.00%">
                  <c:v>-0.5</c:v>
                </c:pt>
                <c:pt idx="21" c:formatCode="0.00%">
                  <c:v>0</c:v>
                </c:pt>
                <c:pt idx="22" c:formatCode="0.00%">
                  <c:v>-1</c:v>
                </c:pt>
                <c:pt idx="23" c:formatCode="0.00%">
                  <c:v>0</c:v>
                </c:pt>
                <c:pt idx="24" c:formatCode="0.00%">
                  <c:v>0</c:v>
                </c:pt>
                <c:pt idx="25" c:formatCode="0.00%">
                  <c:v>0</c:v>
                </c:pt>
                <c:pt idx="26" c:formatCode="0.00%">
                  <c:v>-1</c:v>
                </c:pt>
                <c:pt idx="27" c:formatCode="0.00%">
                  <c:v>0</c:v>
                </c:pt>
                <c:pt idx="28" c:formatCode="0.00%">
                  <c:v>0</c:v>
                </c:pt>
                <c:pt idx="29" c:formatCode="0.00%">
                  <c:v>0</c:v>
                </c:pt>
                <c:pt idx="30" c:formatCode="0.00%">
                  <c:v>-0.666666666666667</c:v>
                </c:pt>
                <c:pt idx="31" c:formatCode="0.00%">
                  <c:v>0</c:v>
                </c:pt>
                <c:pt idx="32" c:formatCode="0.00%">
                  <c:v>0</c:v>
                </c:pt>
                <c:pt idx="33" c:formatCode="0.00%">
                  <c:v>0</c:v>
                </c:pt>
                <c:pt idx="34" c:formatCode="0.00%">
                  <c:v>1</c:v>
                </c:pt>
                <c:pt idx="35" c:formatCode="0.00%">
                  <c:v>-1</c:v>
                </c:pt>
                <c:pt idx="36" c:formatCode="0.00%">
                  <c:v>0</c:v>
                </c:pt>
                <c:pt idx="37" c:formatCode="0.00%">
                  <c:v>-1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-1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62140672"/>
        <c:axId val="262003712"/>
      </c:lineChart>
      <c:catAx>
        <c:axId val="2619612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001792"/>
        <c:crosses val="autoZero"/>
        <c:auto val="1"/>
        <c:lblAlgn val="ctr"/>
        <c:lblOffset val="100"/>
        <c:noMultiLvlLbl val="0"/>
      </c:catAx>
      <c:valAx>
        <c:axId val="26200179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961216"/>
        <c:crosses val="autoZero"/>
        <c:crossBetween val="between"/>
      </c:valAx>
      <c:catAx>
        <c:axId val="26214067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003712"/>
        <c:crosses val="autoZero"/>
        <c:auto val="1"/>
        <c:lblAlgn val="ctr"/>
        <c:lblOffset val="100"/>
        <c:noMultiLvlLbl val="0"/>
      </c:catAx>
      <c:valAx>
        <c:axId val="26200371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14067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Recommended Times </a:t>
            </a:r>
            <a:endParaRPr lang="en-US" sz="14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 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</c:strCache>
            </c:strRef>
          </c:cat>
          <c:val>
            <c:numRef>
              <c:f>Sheet1!$B$2:$B$47</c:f>
              <c:numCache>
                <c:formatCode>General</c:formatCode>
                <c:ptCount val="46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62864256"/>
        <c:axId val="26289510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Recommended Time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9"/>
              <c:layout>
                <c:manualLayout>
                  <c:x val="-0.0308288259547667"/>
                  <c:y val="-0.037528195442919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</c:strCache>
            </c:strRef>
          </c:cat>
          <c:val>
            <c:numRef>
              <c:f>Sheet1!$C$2:$C$47</c:f>
              <c:numCache>
                <c:formatCode>0</c:formatCode>
                <c:ptCount val="46"/>
                <c:pt idx="0">
                  <c:v>0</c:v>
                </c:pt>
                <c:pt idx="1">
                  <c:v>2.5</c:v>
                </c:pt>
                <c:pt idx="2">
                  <c:v>2.66666666666667</c:v>
                </c:pt>
                <c:pt idx="3">
                  <c:v>2.5</c:v>
                </c:pt>
                <c:pt idx="4">
                  <c:v>3.2</c:v>
                </c:pt>
                <c:pt idx="5">
                  <c:v>2.66666666666667</c:v>
                </c:pt>
                <c:pt idx="6">
                  <c:v>2.85714285714286</c:v>
                </c:pt>
                <c:pt idx="7">
                  <c:v>2.75</c:v>
                </c:pt>
                <c:pt idx="8">
                  <c:v>2.55555555555556</c:v>
                </c:pt>
                <c:pt idx="9">
                  <c:v>3.4</c:v>
                </c:pt>
                <c:pt idx="10">
                  <c:v>3.54545454545455</c:v>
                </c:pt>
                <c:pt idx="11">
                  <c:v>3.41666666666667</c:v>
                </c:pt>
                <c:pt idx="12">
                  <c:v>3.30769230769231</c:v>
                </c:pt>
                <c:pt idx="13">
                  <c:v>3.14285714285714</c:v>
                </c:pt>
                <c:pt idx="14">
                  <c:v>3</c:v>
                </c:pt>
                <c:pt idx="15">
                  <c:v>2.8125</c:v>
                </c:pt>
                <c:pt idx="16">
                  <c:v>2.70588235294118</c:v>
                </c:pt>
                <c:pt idx="17">
                  <c:v>2.55555555555556</c:v>
                </c:pt>
                <c:pt idx="18">
                  <c:v>2.47368421052632</c:v>
                </c:pt>
                <c:pt idx="19">
                  <c:v>2.45</c:v>
                </c:pt>
                <c:pt idx="20">
                  <c:v>2.38095238095238</c:v>
                </c:pt>
                <c:pt idx="21">
                  <c:v>2.31818181818182</c:v>
                </c:pt>
                <c:pt idx="22">
                  <c:v>2.21739130434783</c:v>
                </c:pt>
                <c:pt idx="23">
                  <c:v>2.125</c:v>
                </c:pt>
                <c:pt idx="24">
                  <c:v>2.12</c:v>
                </c:pt>
                <c:pt idx="25">
                  <c:v>2.11538461538462</c:v>
                </c:pt>
                <c:pt idx="26">
                  <c:v>2.03703703703704</c:v>
                </c:pt>
                <c:pt idx="27">
                  <c:v>1.96428571428571</c:v>
                </c:pt>
                <c:pt idx="28">
                  <c:v>2</c:v>
                </c:pt>
                <c:pt idx="29">
                  <c:v>2.03333333333333</c:v>
                </c:pt>
                <c:pt idx="30">
                  <c:v>2</c:v>
                </c:pt>
                <c:pt idx="31">
                  <c:v>1.96875</c:v>
                </c:pt>
                <c:pt idx="32">
                  <c:v>1.93939393939394</c:v>
                </c:pt>
                <c:pt idx="33">
                  <c:v>1.91176470588235</c:v>
                </c:pt>
                <c:pt idx="34">
                  <c:v>1.91428571428571</c:v>
                </c:pt>
                <c:pt idx="35">
                  <c:v>1.86111111111111</c:v>
                </c:pt>
                <c:pt idx="36">
                  <c:v>1.83783783783784</c:v>
                </c:pt>
                <c:pt idx="37">
                  <c:v>1.78947368421053</c:v>
                </c:pt>
                <c:pt idx="38">
                  <c:v>1.74358974358974</c:v>
                </c:pt>
                <c:pt idx="39">
                  <c:v>1.7</c:v>
                </c:pt>
                <c:pt idx="40">
                  <c:v>1.65853658536585</c:v>
                </c:pt>
                <c:pt idx="41">
                  <c:v>1.64285714285714</c:v>
                </c:pt>
                <c:pt idx="42">
                  <c:v>1.6046511627907</c:v>
                </c:pt>
                <c:pt idx="43">
                  <c:v>1.56818181818182</c:v>
                </c:pt>
                <c:pt idx="44">
                  <c:v>1.53333333333333</c:v>
                </c:pt>
                <c:pt idx="45">
                  <c:v>1.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2864256"/>
        <c:axId val="262895104"/>
      </c:lineChart>
      <c:dateAx>
        <c:axId val="26286425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895104"/>
        <c:crosses val="autoZero"/>
        <c:auto val="0"/>
        <c:lblAlgn val="ctr"/>
        <c:lblOffset val="100"/>
        <c:baseTimeUnit val="days"/>
      </c:dateAx>
      <c:valAx>
        <c:axId val="2628951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8642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400" b="0" i="0" baseline="0" dirty="0">
                <a:effectLst/>
                <a:latin typeface="+mn-lt"/>
              </a:rPr>
              <a:t>Average Daily </a:t>
            </a:r>
            <a:r>
              <a:rPr lang="en-US" sz="1400" b="0" i="0" u="none" strike="noStrike" baseline="0" dirty="0">
                <a:effectLst/>
                <a:latin typeface="+mn-lt"/>
              </a:rPr>
              <a:t>Recommended Times </a:t>
            </a:r>
            <a:endParaRPr lang="zh-CN" altLang="zh-CN" sz="1400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</c:strCache>
            </c:strRef>
          </c:cat>
          <c:val>
            <c:numRef>
              <c:f>Sheet1!$B$2:$B$47</c:f>
              <c:numCache>
                <c:formatCode>General</c:formatCode>
                <c:ptCount val="46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62974464"/>
        <c:axId val="26298892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Recommended Time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5"/>
              <c:delete val="1"/>
            </c:dLbl>
            <c:dLbl>
              <c:idx val="8"/>
              <c:layout>
                <c:manualLayout>
                  <c:x val="-0.0410798122065728"/>
                  <c:y val="-0.016530868424055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3"/>
              <c:layout>
                <c:manualLayout>
                  <c:x val="-0.0410798122065728"/>
                  <c:y val="-0.016530868424055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>
                <c:manualLayout>
                  <c:x val="-0.030862445011275"/>
                  <c:y val="-0.016530868424055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8"/>
              <c:layout>
                <c:manualLayout>
                  <c:x val="-0.0289085431222506"/>
                  <c:y val="-0.018206379093917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9"/>
              <c:layout>
                <c:manualLayout>
                  <c:x val="-0.0336033788030017"/>
                  <c:y val="-0.061684639963482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0"/>
              <c:layout>
                <c:manualLayout>
                  <c:x val="-0.0359507966433773"/>
                  <c:y val="-0.018206379093917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1"/>
              <c:layout>
                <c:manualLayout>
                  <c:x val="-0.0453404680048797"/>
                  <c:y val="-0.021829567499714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2"/>
              <c:layout>
                <c:manualLayout>
                  <c:x val="-0.00140845070422535"/>
                  <c:y val="0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</c:strCache>
            </c:strRef>
          </c:cat>
          <c:val>
            <c:numRef>
              <c:f>Sheet1!$C$2:$C$47</c:f>
              <c:numCache>
                <c:formatCode>0.00</c:formatCode>
                <c:ptCount val="46"/>
                <c:pt idx="0">
                  <c:v>3</c:v>
                </c:pt>
                <c:pt idx="1">
                  <c:v>0.714285714285714</c:v>
                </c:pt>
                <c:pt idx="2">
                  <c:v>0.428571428571429</c:v>
                </c:pt>
                <c:pt idx="3">
                  <c:v>0.285714285714286</c:v>
                </c:pt>
                <c:pt idx="4">
                  <c:v>0.857142857142857</c:v>
                </c:pt>
                <c:pt idx="5">
                  <c:v>0</c:v>
                </c:pt>
                <c:pt idx="6">
                  <c:v>0.571428571428571</c:v>
                </c:pt>
                <c:pt idx="7">
                  <c:v>0.285714285714286</c:v>
                </c:pt>
                <c:pt idx="8">
                  <c:v>0.142857142857143</c:v>
                </c:pt>
                <c:pt idx="9">
                  <c:v>1.57142857142857</c:v>
                </c:pt>
                <c:pt idx="10">
                  <c:v>0.714285714285714</c:v>
                </c:pt>
                <c:pt idx="11">
                  <c:v>0.285714285714286</c:v>
                </c:pt>
                <c:pt idx="12">
                  <c:v>0.285714285714286</c:v>
                </c:pt>
                <c:pt idx="13">
                  <c:v>0.142857142857143</c:v>
                </c:pt>
                <c:pt idx="14">
                  <c:v>0.142857142857143</c:v>
                </c:pt>
                <c:pt idx="15">
                  <c:v>0</c:v>
                </c:pt>
                <c:pt idx="16">
                  <c:v>0.142857142857143</c:v>
                </c:pt>
                <c:pt idx="17">
                  <c:v>0</c:v>
                </c:pt>
                <c:pt idx="18">
                  <c:v>0.142857142857143</c:v>
                </c:pt>
                <c:pt idx="19">
                  <c:v>0.285714285714286</c:v>
                </c:pt>
                <c:pt idx="20">
                  <c:v>0.142857142857143</c:v>
                </c:pt>
                <c:pt idx="21">
                  <c:v>0.142857142857143</c:v>
                </c:pt>
                <c:pt idx="22">
                  <c:v>0</c:v>
                </c:pt>
                <c:pt idx="23">
                  <c:v>0</c:v>
                </c:pt>
                <c:pt idx="24">
                  <c:v>0.285714285714286</c:v>
                </c:pt>
                <c:pt idx="25">
                  <c:v>0.285714285714286</c:v>
                </c:pt>
                <c:pt idx="26">
                  <c:v>0</c:v>
                </c:pt>
                <c:pt idx="27">
                  <c:v>0</c:v>
                </c:pt>
                <c:pt idx="28">
                  <c:v>0.428571428571429</c:v>
                </c:pt>
                <c:pt idx="29">
                  <c:v>0.428571428571429</c:v>
                </c:pt>
                <c:pt idx="30">
                  <c:v>0.142857142857143</c:v>
                </c:pt>
                <c:pt idx="31">
                  <c:v>0.142857142857143</c:v>
                </c:pt>
                <c:pt idx="32">
                  <c:v>0.142857142857143</c:v>
                </c:pt>
                <c:pt idx="33">
                  <c:v>0.142857142857143</c:v>
                </c:pt>
                <c:pt idx="34">
                  <c:v>0.285714285714286</c:v>
                </c:pt>
                <c:pt idx="35">
                  <c:v>0</c:v>
                </c:pt>
                <c:pt idx="36">
                  <c:v>0.142857142857143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.142857142857143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2974464"/>
        <c:axId val="262988928"/>
      </c:lineChart>
      <c:dateAx>
        <c:axId val="26297446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-2020 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988928"/>
        <c:crosses val="autoZero"/>
        <c:auto val="0"/>
        <c:lblAlgn val="ctr"/>
        <c:lblOffset val="100"/>
        <c:baseTimeUnit val="days"/>
      </c:dateAx>
      <c:valAx>
        <c:axId val="2629889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974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Recommended Time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10</c:v>
                </c:pt>
                <c:pt idx="1">
                  <c:v>11</c:v>
                </c:pt>
                <c:pt idx="2">
                  <c:v>20</c:v>
                </c:pt>
                <c:pt idx="3">
                  <c:v>4</c:v>
                </c:pt>
                <c:pt idx="4">
                  <c:v>5</c:v>
                </c:pt>
                <c:pt idx="5">
                  <c:v>3</c:v>
                </c:pt>
                <c:pt idx="6">
                  <c:v>6</c:v>
                </c:pt>
                <c:pt idx="7">
                  <c:v>6</c:v>
                </c:pt>
                <c:pt idx="8">
                  <c:v>3</c:v>
                </c:pt>
                <c:pt idx="9">
                  <c:v>1</c:v>
                </c:pt>
                <c:pt idx="10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63559040"/>
        <c:axId val="26357760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C$2:$C$12</c:f>
              <c:numCache>
                <c:formatCode>0%</c:formatCode>
                <c:ptCount val="11"/>
                <c:pt idx="0">
                  <c:v>#N/A</c:v>
                </c:pt>
                <c:pt idx="1">
                  <c:v>1.1</c:v>
                </c:pt>
                <c:pt idx="2" c:formatCode="0.00%">
                  <c:v>0.952380952380952</c:v>
                </c:pt>
                <c:pt idx="3" c:formatCode="0.00%">
                  <c:v>0.0975609756097561</c:v>
                </c:pt>
                <c:pt idx="4" c:formatCode="0.00%">
                  <c:v>0.111111111111111</c:v>
                </c:pt>
                <c:pt idx="5" c:formatCode="0.00%">
                  <c:v>0.06</c:v>
                </c:pt>
                <c:pt idx="6" c:formatCode="0.00%">
                  <c:v>0.113207547169811</c:v>
                </c:pt>
                <c:pt idx="7" c:formatCode="0.00%">
                  <c:v>0.101694915254237</c:v>
                </c:pt>
                <c:pt idx="8" c:formatCode="0.00%">
                  <c:v>0.0461538461538462</c:v>
                </c:pt>
                <c:pt idx="9" c:formatCode="0.00%">
                  <c:v>0.0147058823529412</c:v>
                </c:pt>
                <c:pt idx="10" c:formatCode="0.00%">
                  <c:v>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D$2:$D$12</c:f>
              <c:numCache>
                <c:formatCode>0%</c:formatCode>
                <c:ptCount val="11"/>
                <c:pt idx="0">
                  <c:v>#N/A</c:v>
                </c:pt>
                <c:pt idx="1">
                  <c:v>0.1</c:v>
                </c:pt>
                <c:pt idx="2" c:formatCode="0.00%">
                  <c:v>0.818181818181818</c:v>
                </c:pt>
                <c:pt idx="3" c:formatCode="0.00%">
                  <c:v>-0.8</c:v>
                </c:pt>
                <c:pt idx="4" c:formatCode="0.00%">
                  <c:v>0.25</c:v>
                </c:pt>
                <c:pt idx="5" c:formatCode="0.00%">
                  <c:v>-0.4</c:v>
                </c:pt>
                <c:pt idx="6" c:formatCode="0.00%">
                  <c:v>1</c:v>
                </c:pt>
                <c:pt idx="7" c:formatCode="0.00%">
                  <c:v>0</c:v>
                </c:pt>
                <c:pt idx="8" c:formatCode="0.00%">
                  <c:v>-0.5</c:v>
                </c:pt>
                <c:pt idx="9" c:formatCode="0.00%">
                  <c:v>-0.666666666666667</c:v>
                </c:pt>
                <c:pt idx="10" c:formatCode="0.00%">
                  <c:v>-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63581056"/>
        <c:axId val="263579520"/>
      </c:lineChart>
      <c:catAx>
        <c:axId val="26355904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77600"/>
        <c:crosses val="autoZero"/>
        <c:auto val="1"/>
        <c:lblAlgn val="ctr"/>
        <c:lblOffset val="100"/>
        <c:noMultiLvlLbl val="0"/>
      </c:catAx>
      <c:valAx>
        <c:axId val="26357760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59040"/>
        <c:crosses val="autoZero"/>
        <c:crossBetween val="between"/>
      </c:valAx>
      <c:catAx>
        <c:axId val="2635810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79520"/>
        <c:crosses val="autoZero"/>
        <c:auto val="1"/>
        <c:lblAlgn val="ctr"/>
        <c:lblOffset val="100"/>
        <c:noMultiLvlLbl val="0"/>
      </c:catAx>
      <c:valAx>
        <c:axId val="2635795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810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n-ea"/>
                <a:cs typeface="+mn-cs"/>
              </a:rPr>
              <a:t>Average Weekly Downloads</a:t>
            </a:r>
            <a:endParaRPr lang="en-US" sz="1800" dirty="0">
              <a:latin typeface="+mj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35571328231858"/>
          <c:y val="0.122089621609799"/>
          <c:w val="0.790652656094045"/>
          <c:h val="0.5590591121761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</c:strCache>
            </c:strRef>
          </c:cat>
          <c:val>
            <c:numRef>
              <c:f>Sheet1!$B$2:$B$47</c:f>
              <c:numCache>
                <c:formatCode>General</c:formatCode>
                <c:ptCount val="46"/>
                <c:pt idx="0">
                  <c:v>8</c:v>
                </c:pt>
                <c:pt idx="1">
                  <c:v>46</c:v>
                </c:pt>
                <c:pt idx="2">
                  <c:v>18</c:v>
                </c:pt>
                <c:pt idx="3">
                  <c:v>17</c:v>
                </c:pt>
                <c:pt idx="4">
                  <c:v>19</c:v>
                </c:pt>
                <c:pt idx="5">
                  <c:v>23</c:v>
                </c:pt>
                <c:pt idx="6">
                  <c:v>21</c:v>
                </c:pt>
                <c:pt idx="7">
                  <c:v>14</c:v>
                </c:pt>
                <c:pt idx="8">
                  <c:v>18</c:v>
                </c:pt>
                <c:pt idx="9">
                  <c:v>124</c:v>
                </c:pt>
                <c:pt idx="10">
                  <c:v>13</c:v>
                </c:pt>
                <c:pt idx="11">
                  <c:v>22</c:v>
                </c:pt>
                <c:pt idx="12">
                  <c:v>14</c:v>
                </c:pt>
                <c:pt idx="13">
                  <c:v>17</c:v>
                </c:pt>
                <c:pt idx="14">
                  <c:v>13</c:v>
                </c:pt>
                <c:pt idx="15">
                  <c:v>13</c:v>
                </c:pt>
                <c:pt idx="16">
                  <c:v>8</c:v>
                </c:pt>
                <c:pt idx="17">
                  <c:v>20</c:v>
                </c:pt>
                <c:pt idx="18">
                  <c:v>6</c:v>
                </c:pt>
                <c:pt idx="19">
                  <c:v>19</c:v>
                </c:pt>
                <c:pt idx="20">
                  <c:v>18</c:v>
                </c:pt>
                <c:pt idx="21">
                  <c:v>17</c:v>
                </c:pt>
                <c:pt idx="22">
                  <c:v>18</c:v>
                </c:pt>
                <c:pt idx="23">
                  <c:v>17</c:v>
                </c:pt>
                <c:pt idx="24">
                  <c:v>15</c:v>
                </c:pt>
                <c:pt idx="25">
                  <c:v>12</c:v>
                </c:pt>
                <c:pt idx="26">
                  <c:v>4</c:v>
                </c:pt>
                <c:pt idx="27">
                  <c:v>12</c:v>
                </c:pt>
                <c:pt idx="28">
                  <c:v>12</c:v>
                </c:pt>
                <c:pt idx="29">
                  <c:v>20</c:v>
                </c:pt>
                <c:pt idx="30">
                  <c:v>10</c:v>
                </c:pt>
                <c:pt idx="31">
                  <c:v>17</c:v>
                </c:pt>
                <c:pt idx="32">
                  <c:v>19</c:v>
                </c:pt>
                <c:pt idx="33">
                  <c:v>16</c:v>
                </c:pt>
                <c:pt idx="34">
                  <c:v>22</c:v>
                </c:pt>
                <c:pt idx="35">
                  <c:v>14</c:v>
                </c:pt>
                <c:pt idx="36">
                  <c:v>11</c:v>
                </c:pt>
                <c:pt idx="37">
                  <c:v>5</c:v>
                </c:pt>
                <c:pt idx="38">
                  <c:v>20</c:v>
                </c:pt>
                <c:pt idx="39">
                  <c:v>7</c:v>
                </c:pt>
                <c:pt idx="40">
                  <c:v>7</c:v>
                </c:pt>
                <c:pt idx="41">
                  <c:v>23</c:v>
                </c:pt>
                <c:pt idx="42">
                  <c:v>19</c:v>
                </c:pt>
                <c:pt idx="43">
                  <c:v>8</c:v>
                </c:pt>
                <c:pt idx="44">
                  <c:v>12</c:v>
                </c:pt>
                <c:pt idx="45">
                  <c:v>14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</c:strCache>
            </c:strRef>
          </c:cat>
          <c:val>
            <c:numRef>
              <c:f>Sheet1!$C$2:$C$47</c:f>
              <c:numCache>
                <c:formatCode>General</c:formatCode>
                <c:ptCount val="46"/>
                <c:pt idx="0">
                  <c:v>0</c:v>
                </c:pt>
                <c:pt idx="1">
                  <c:v>9</c:v>
                </c:pt>
                <c:pt idx="2">
                  <c:v>10</c:v>
                </c:pt>
                <c:pt idx="3">
                  <c:v>5</c:v>
                </c:pt>
                <c:pt idx="4">
                  <c:v>22</c:v>
                </c:pt>
                <c:pt idx="5">
                  <c:v>17</c:v>
                </c:pt>
                <c:pt idx="6">
                  <c:v>6</c:v>
                </c:pt>
                <c:pt idx="7">
                  <c:v>6</c:v>
                </c:pt>
                <c:pt idx="8">
                  <c:v>30</c:v>
                </c:pt>
                <c:pt idx="9">
                  <c:v>30</c:v>
                </c:pt>
                <c:pt idx="10">
                  <c:v>10</c:v>
                </c:pt>
                <c:pt idx="11">
                  <c:v>5</c:v>
                </c:pt>
                <c:pt idx="12">
                  <c:v>5</c:v>
                </c:pt>
                <c:pt idx="13">
                  <c:v>4</c:v>
                </c:pt>
                <c:pt idx="14">
                  <c:v>6</c:v>
                </c:pt>
                <c:pt idx="15">
                  <c:v>2</c:v>
                </c:pt>
                <c:pt idx="16">
                  <c:v>9</c:v>
                </c:pt>
                <c:pt idx="17">
                  <c:v>5</c:v>
                </c:pt>
                <c:pt idx="18">
                  <c:v>3</c:v>
                </c:pt>
                <c:pt idx="19">
                  <c:v>19</c:v>
                </c:pt>
                <c:pt idx="20">
                  <c:v>21</c:v>
                </c:pt>
                <c:pt idx="21">
                  <c:v>7</c:v>
                </c:pt>
                <c:pt idx="22">
                  <c:v>10</c:v>
                </c:pt>
                <c:pt idx="23">
                  <c:v>6</c:v>
                </c:pt>
                <c:pt idx="24">
                  <c:v>13</c:v>
                </c:pt>
                <c:pt idx="25">
                  <c:v>9</c:v>
                </c:pt>
                <c:pt idx="26">
                  <c:v>10</c:v>
                </c:pt>
                <c:pt idx="27">
                  <c:v>2</c:v>
                </c:pt>
                <c:pt idx="28">
                  <c:v>4</c:v>
                </c:pt>
                <c:pt idx="29">
                  <c:v>5</c:v>
                </c:pt>
                <c:pt idx="30">
                  <c:v>6</c:v>
                </c:pt>
                <c:pt idx="31">
                  <c:v>3</c:v>
                </c:pt>
                <c:pt idx="32">
                  <c:v>11</c:v>
                </c:pt>
                <c:pt idx="33">
                  <c:v>4</c:v>
                </c:pt>
                <c:pt idx="34">
                  <c:v>8</c:v>
                </c:pt>
                <c:pt idx="35">
                  <c:v>5</c:v>
                </c:pt>
                <c:pt idx="36">
                  <c:v>3</c:v>
                </c:pt>
                <c:pt idx="37">
                  <c:v>7</c:v>
                </c:pt>
                <c:pt idx="38">
                  <c:v>5</c:v>
                </c:pt>
                <c:pt idx="39">
                  <c:v>5</c:v>
                </c:pt>
                <c:pt idx="40">
                  <c:v>2</c:v>
                </c:pt>
                <c:pt idx="41">
                  <c:v>10</c:v>
                </c:pt>
                <c:pt idx="42">
                  <c:v>5</c:v>
                </c:pt>
                <c:pt idx="43">
                  <c:v>5</c:v>
                </c:pt>
                <c:pt idx="44">
                  <c:v>6</c:v>
                </c:pt>
                <c:pt idx="45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</c:strCache>
            </c:strRef>
          </c:cat>
          <c:val>
            <c:numRef>
              <c:f>Sheet1!$D$2:$D$47</c:f>
              <c:numCache>
                <c:formatCode>General</c:formatCode>
                <c:ptCount val="46"/>
                <c:pt idx="0">
                  <c:v>3</c:v>
                </c:pt>
                <c:pt idx="1">
                  <c:v>34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1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667328"/>
        <c:axId val="20166963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Average weekly downloads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</c:strCache>
            </c:strRef>
          </c:cat>
          <c:val>
            <c:numRef>
              <c:f>Sheet1!$E$2:$E$47</c:f>
              <c:numCache>
                <c:formatCode>0</c:formatCode>
                <c:ptCount val="46"/>
                <c:pt idx="0">
                  <c:v>8</c:v>
                </c:pt>
                <c:pt idx="1">
                  <c:v>31.5</c:v>
                </c:pt>
                <c:pt idx="2">
                  <c:v>30.3333333333333</c:v>
                </c:pt>
                <c:pt idx="3">
                  <c:v>28.25</c:v>
                </c:pt>
                <c:pt idx="4">
                  <c:v>30.8</c:v>
                </c:pt>
                <c:pt idx="5">
                  <c:v>32.3333333333333</c:v>
                </c:pt>
                <c:pt idx="6">
                  <c:v>31.5714285714286</c:v>
                </c:pt>
                <c:pt idx="7">
                  <c:v>30.125</c:v>
                </c:pt>
                <c:pt idx="8">
                  <c:v>32.1111111111111</c:v>
                </c:pt>
                <c:pt idx="9">
                  <c:v>44.3</c:v>
                </c:pt>
                <c:pt idx="10">
                  <c:v>42.3636363636364</c:v>
                </c:pt>
                <c:pt idx="11">
                  <c:v>41.0833333333333</c:v>
                </c:pt>
                <c:pt idx="12">
                  <c:v>39.3846153846154</c:v>
                </c:pt>
                <c:pt idx="13">
                  <c:v>38.0714285714286</c:v>
                </c:pt>
                <c:pt idx="14">
                  <c:v>36.8</c:v>
                </c:pt>
                <c:pt idx="15">
                  <c:v>35.4375</c:v>
                </c:pt>
                <c:pt idx="16">
                  <c:v>34.3529411764706</c:v>
                </c:pt>
                <c:pt idx="17">
                  <c:v>33.8333333333333</c:v>
                </c:pt>
                <c:pt idx="18">
                  <c:v>32.5263157894737</c:v>
                </c:pt>
                <c:pt idx="19">
                  <c:v>32.8</c:v>
                </c:pt>
                <c:pt idx="20">
                  <c:v>33.0952380952381</c:v>
                </c:pt>
                <c:pt idx="21">
                  <c:v>32.6818181818182</c:v>
                </c:pt>
                <c:pt idx="22">
                  <c:v>32.4782608695652</c:v>
                </c:pt>
                <c:pt idx="23">
                  <c:v>32.0833333333333</c:v>
                </c:pt>
                <c:pt idx="24">
                  <c:v>31.92</c:v>
                </c:pt>
                <c:pt idx="25">
                  <c:v>31.5</c:v>
                </c:pt>
                <c:pt idx="26">
                  <c:v>30.8518518518519</c:v>
                </c:pt>
                <c:pt idx="27">
                  <c:v>30.25</c:v>
                </c:pt>
                <c:pt idx="28">
                  <c:v>29.7586206896552</c:v>
                </c:pt>
                <c:pt idx="29">
                  <c:v>29.6</c:v>
                </c:pt>
                <c:pt idx="30">
                  <c:v>29.1612903225806</c:v>
                </c:pt>
                <c:pt idx="31">
                  <c:v>28.875</c:v>
                </c:pt>
                <c:pt idx="32">
                  <c:v>28.9090909090909</c:v>
                </c:pt>
                <c:pt idx="33">
                  <c:v>28.6470588235294</c:v>
                </c:pt>
                <c:pt idx="34">
                  <c:v>28.6857142857143</c:v>
                </c:pt>
                <c:pt idx="35">
                  <c:v>28.4166666666667</c:v>
                </c:pt>
                <c:pt idx="36">
                  <c:v>28.027027027027</c:v>
                </c:pt>
                <c:pt idx="37">
                  <c:v>27.6052631578947</c:v>
                </c:pt>
                <c:pt idx="38">
                  <c:v>27.5384615384615</c:v>
                </c:pt>
                <c:pt idx="39">
                  <c:v>27.15</c:v>
                </c:pt>
                <c:pt idx="40">
                  <c:v>26.7073170731707</c:v>
                </c:pt>
                <c:pt idx="41">
                  <c:v>26.8571428571429</c:v>
                </c:pt>
                <c:pt idx="42">
                  <c:v>26.7906976744186</c:v>
                </c:pt>
                <c:pt idx="43">
                  <c:v>26.4772727272727</c:v>
                </c:pt>
                <c:pt idx="44">
                  <c:v>26.2888888888889</c:v>
                </c:pt>
                <c:pt idx="45">
                  <c:v>26.021739130434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1702016"/>
        <c:axId val="201700480"/>
      </c:lineChart>
      <c:dateAx>
        <c:axId val="20166732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-2020 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669632"/>
        <c:crosses val="autoZero"/>
        <c:auto val="0"/>
        <c:lblAlgn val="ctr"/>
        <c:lblOffset val="100"/>
        <c:baseTimeUnit val="days"/>
      </c:dateAx>
      <c:valAx>
        <c:axId val="2016696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667328"/>
        <c:crosses val="autoZero"/>
        <c:crossBetween val="between"/>
      </c:valAx>
      <c:catAx>
        <c:axId val="20170201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700480"/>
        <c:crosses val="autoZero"/>
        <c:auto val="1"/>
        <c:lblAlgn val="ctr"/>
        <c:lblOffset val="100"/>
        <c:noMultiLvlLbl val="0"/>
      </c:catAx>
      <c:valAx>
        <c:axId val="201700480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70201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786384976525822"/>
          <c:y val="0.886458333333333"/>
          <c:w val="0.852112676056338"/>
          <c:h val="0.10312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n-ea"/>
                <a:cs typeface="+mn-cs"/>
              </a:rPr>
              <a:t>Average Daily Downloads</a:t>
            </a:r>
            <a:endParaRPr lang="en-US" sz="1800" b="0" i="0" u="none" strike="noStrike" kern="1200" spc="0" baseline="0" dirty="0">
              <a:solidFill>
                <a:srgbClr val="000000">
                  <a:lumMod val="65000"/>
                  <a:lumOff val="35000"/>
                </a:srgbClr>
              </a:solidFill>
              <a:latin typeface="+mj-lt"/>
              <a:ea typeface="+mn-ea"/>
              <a:cs typeface="+mn-cs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5313297105467"/>
          <c:y val="0.156811879493324"/>
          <c:w val="0.804889837713948"/>
          <c:h val="0.5590591121761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</c:strCache>
            </c:strRef>
          </c:cat>
          <c:val>
            <c:numRef>
              <c:f>Sheet1!$E$2:$E$47</c:f>
              <c:numCache>
                <c:formatCode>0</c:formatCode>
                <c:ptCount val="46"/>
                <c:pt idx="0">
                  <c:v>4</c:v>
                </c:pt>
                <c:pt idx="1">
                  <c:v>6.57142857142857</c:v>
                </c:pt>
                <c:pt idx="2">
                  <c:v>2.57142857142857</c:v>
                </c:pt>
                <c:pt idx="3">
                  <c:v>2.42857142857143</c:v>
                </c:pt>
                <c:pt idx="4">
                  <c:v>2.71428571428571</c:v>
                </c:pt>
                <c:pt idx="5">
                  <c:v>3.28571428571429</c:v>
                </c:pt>
                <c:pt idx="6">
                  <c:v>3</c:v>
                </c:pt>
                <c:pt idx="7">
                  <c:v>2</c:v>
                </c:pt>
                <c:pt idx="8">
                  <c:v>2.57142857142857</c:v>
                </c:pt>
                <c:pt idx="9">
                  <c:v>17.7142857142857</c:v>
                </c:pt>
                <c:pt idx="10">
                  <c:v>1.85714285714286</c:v>
                </c:pt>
                <c:pt idx="11">
                  <c:v>3.14285714285714</c:v>
                </c:pt>
                <c:pt idx="12">
                  <c:v>2</c:v>
                </c:pt>
                <c:pt idx="13">
                  <c:v>2.42857142857143</c:v>
                </c:pt>
                <c:pt idx="14">
                  <c:v>1.85714285714286</c:v>
                </c:pt>
                <c:pt idx="15">
                  <c:v>1.85714285714286</c:v>
                </c:pt>
                <c:pt idx="16">
                  <c:v>1.14285714285714</c:v>
                </c:pt>
                <c:pt idx="17">
                  <c:v>2.85714285714286</c:v>
                </c:pt>
                <c:pt idx="18">
                  <c:v>0.857142857142857</c:v>
                </c:pt>
                <c:pt idx="19">
                  <c:v>2.71428571428571</c:v>
                </c:pt>
                <c:pt idx="20">
                  <c:v>2.57142857142857</c:v>
                </c:pt>
                <c:pt idx="21">
                  <c:v>2.42857142857143</c:v>
                </c:pt>
                <c:pt idx="22">
                  <c:v>2.57142857142857</c:v>
                </c:pt>
                <c:pt idx="23">
                  <c:v>2.42857142857143</c:v>
                </c:pt>
                <c:pt idx="24">
                  <c:v>2.14285714285714</c:v>
                </c:pt>
                <c:pt idx="25">
                  <c:v>1.71428571428571</c:v>
                </c:pt>
                <c:pt idx="26">
                  <c:v>0.571428571428571</c:v>
                </c:pt>
                <c:pt idx="27">
                  <c:v>1.71428571428571</c:v>
                </c:pt>
                <c:pt idx="28">
                  <c:v>1.71428571428571</c:v>
                </c:pt>
                <c:pt idx="29">
                  <c:v>2.85714285714286</c:v>
                </c:pt>
                <c:pt idx="30">
                  <c:v>1.28571428571429</c:v>
                </c:pt>
                <c:pt idx="31">
                  <c:v>2.42857142857143</c:v>
                </c:pt>
                <c:pt idx="32">
                  <c:v>2.57142857142857</c:v>
                </c:pt>
                <c:pt idx="33">
                  <c:v>2.28571428571429</c:v>
                </c:pt>
                <c:pt idx="34">
                  <c:v>3.14285714285714</c:v>
                </c:pt>
                <c:pt idx="35">
                  <c:v>2</c:v>
                </c:pt>
                <c:pt idx="36">
                  <c:v>1.57142857142857</c:v>
                </c:pt>
                <c:pt idx="37">
                  <c:v>0.714285714285714</c:v>
                </c:pt>
                <c:pt idx="38">
                  <c:v>2.85714285714286</c:v>
                </c:pt>
                <c:pt idx="39">
                  <c:v>1</c:v>
                </c:pt>
                <c:pt idx="40">
                  <c:v>1</c:v>
                </c:pt>
                <c:pt idx="41">
                  <c:v>3.28571428571429</c:v>
                </c:pt>
                <c:pt idx="42">
                  <c:v>2.71428571428571</c:v>
                </c:pt>
                <c:pt idx="43">
                  <c:v>1.14285714285714</c:v>
                </c:pt>
                <c:pt idx="44">
                  <c:v>1.71428571428571</c:v>
                </c:pt>
                <c:pt idx="45">
                  <c:v>2</c:v>
                </c:pt>
              </c:numCache>
            </c:numRef>
          </c:val>
        </c:ser>
        <c:ser>
          <c:idx val="1"/>
          <c:order val="1"/>
          <c:tx>
            <c:strRef>
              <c:f>Sheet1!$F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</c:strCache>
            </c:strRef>
          </c:cat>
          <c:val>
            <c:numRef>
              <c:f>Sheet1!$F$2:$F$47</c:f>
              <c:numCache>
                <c:formatCode>General</c:formatCode>
                <c:ptCount val="46"/>
                <c:pt idx="0">
                  <c:v>0</c:v>
                </c:pt>
                <c:pt idx="1" c:formatCode="0">
                  <c:v>1.28571428571429</c:v>
                </c:pt>
                <c:pt idx="2" c:formatCode="0">
                  <c:v>1.42857142857143</c:v>
                </c:pt>
                <c:pt idx="3" c:formatCode="0">
                  <c:v>0.714285714285714</c:v>
                </c:pt>
                <c:pt idx="4" c:formatCode="0">
                  <c:v>3.14285714285714</c:v>
                </c:pt>
                <c:pt idx="5" c:formatCode="0">
                  <c:v>2.42857142857143</c:v>
                </c:pt>
                <c:pt idx="6" c:formatCode="0">
                  <c:v>0.857142857142857</c:v>
                </c:pt>
                <c:pt idx="7" c:formatCode="0">
                  <c:v>0.857142857142857</c:v>
                </c:pt>
                <c:pt idx="8" c:formatCode="0">
                  <c:v>4.28571428571429</c:v>
                </c:pt>
                <c:pt idx="9" c:formatCode="0">
                  <c:v>4.28571428571429</c:v>
                </c:pt>
                <c:pt idx="10" c:formatCode="0">
                  <c:v>1.42857142857143</c:v>
                </c:pt>
                <c:pt idx="11" c:formatCode="0">
                  <c:v>0.714285714285714</c:v>
                </c:pt>
                <c:pt idx="12" c:formatCode="0">
                  <c:v>0.714285714285714</c:v>
                </c:pt>
                <c:pt idx="13" c:formatCode="0">
                  <c:v>0.571428571428571</c:v>
                </c:pt>
                <c:pt idx="14" c:formatCode="0">
                  <c:v>0.857142857142857</c:v>
                </c:pt>
                <c:pt idx="15" c:formatCode="0">
                  <c:v>0.285714285714286</c:v>
                </c:pt>
                <c:pt idx="16" c:formatCode="0">
                  <c:v>1.28571428571429</c:v>
                </c:pt>
                <c:pt idx="17" c:formatCode="0">
                  <c:v>0.714285714285714</c:v>
                </c:pt>
                <c:pt idx="18" c:formatCode="0">
                  <c:v>0.428571428571429</c:v>
                </c:pt>
                <c:pt idx="19" c:formatCode="0">
                  <c:v>2.71428571428571</c:v>
                </c:pt>
                <c:pt idx="20" c:formatCode="0">
                  <c:v>3</c:v>
                </c:pt>
                <c:pt idx="21" c:formatCode="0">
                  <c:v>1</c:v>
                </c:pt>
                <c:pt idx="22" c:formatCode="0">
                  <c:v>1.42857142857143</c:v>
                </c:pt>
                <c:pt idx="23" c:formatCode="0">
                  <c:v>0.857142857142857</c:v>
                </c:pt>
                <c:pt idx="24" c:formatCode="0">
                  <c:v>1.85714285714286</c:v>
                </c:pt>
                <c:pt idx="25" c:formatCode="0">
                  <c:v>1.28571428571429</c:v>
                </c:pt>
                <c:pt idx="26" c:formatCode="0">
                  <c:v>1.42857142857143</c:v>
                </c:pt>
                <c:pt idx="27" c:formatCode="0">
                  <c:v>0.285714285714286</c:v>
                </c:pt>
                <c:pt idx="28" c:formatCode="0">
                  <c:v>0.571428571428571</c:v>
                </c:pt>
                <c:pt idx="29" c:formatCode="0">
                  <c:v>0.714285714285714</c:v>
                </c:pt>
                <c:pt idx="30" c:formatCode="0">
                  <c:v>0.714285714285714</c:v>
                </c:pt>
                <c:pt idx="31" c:formatCode="0">
                  <c:v>0.428571428571429</c:v>
                </c:pt>
                <c:pt idx="32" c:formatCode="0">
                  <c:v>1.57142857142857</c:v>
                </c:pt>
                <c:pt idx="33" c:formatCode="0">
                  <c:v>0.571428571428571</c:v>
                </c:pt>
                <c:pt idx="34" c:formatCode="0">
                  <c:v>1.14285714285714</c:v>
                </c:pt>
                <c:pt idx="35" c:formatCode="0">
                  <c:v>0.714285714285714</c:v>
                </c:pt>
                <c:pt idx="36" c:formatCode="0">
                  <c:v>0.428571428571429</c:v>
                </c:pt>
                <c:pt idx="37" c:formatCode="0">
                  <c:v>1</c:v>
                </c:pt>
                <c:pt idx="38" c:formatCode="0">
                  <c:v>0.714285714285714</c:v>
                </c:pt>
                <c:pt idx="39" c:formatCode="0">
                  <c:v>0.714285714285714</c:v>
                </c:pt>
                <c:pt idx="40" c:formatCode="0">
                  <c:v>0.285714285714286</c:v>
                </c:pt>
                <c:pt idx="41" c:formatCode="0">
                  <c:v>1.42857142857143</c:v>
                </c:pt>
                <c:pt idx="42" c:formatCode="0">
                  <c:v>0.714285714285714</c:v>
                </c:pt>
                <c:pt idx="43" c:formatCode="0">
                  <c:v>0.714285714285714</c:v>
                </c:pt>
                <c:pt idx="44" c:formatCode="0">
                  <c:v>0.857142857142857</c:v>
                </c:pt>
                <c:pt idx="45" c:formatCode="0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G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</c:strCache>
            </c:strRef>
          </c:cat>
          <c:val>
            <c:numRef>
              <c:f>Sheet1!$G$2:$G$47</c:f>
              <c:numCache>
                <c:formatCode>0</c:formatCode>
                <c:ptCount val="46"/>
                <c:pt idx="0">
                  <c:v>1.5</c:v>
                </c:pt>
                <c:pt idx="1">
                  <c:v>4.85714285714286</c:v>
                </c:pt>
                <c:pt idx="2">
                  <c:v>0.142857142857143</c:v>
                </c:pt>
                <c:pt idx="3">
                  <c:v>0</c:v>
                </c:pt>
                <c:pt idx="4">
                  <c:v>0.142857142857143</c:v>
                </c:pt>
                <c:pt idx="5">
                  <c:v>0</c:v>
                </c:pt>
                <c:pt idx="6">
                  <c:v>0</c:v>
                </c:pt>
                <c:pt idx="7">
                  <c:v>0.285714285714286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.142857142857143</c:v>
                </c:pt>
                <c:pt idx="22">
                  <c:v>0.142857142857143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.142857142857143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951104"/>
        <c:axId val="201953664"/>
      </c:barChart>
      <c:lineChart>
        <c:grouping val="standard"/>
        <c:varyColors val="0"/>
        <c:ser>
          <c:idx val="3"/>
          <c:order val="3"/>
          <c:tx>
            <c:strRef>
              <c:f>Sheet1!$H$1</c:f>
              <c:strCache>
                <c:ptCount val="1"/>
                <c:pt idx="0">
                  <c:v>Average daily downloads 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</c:strCache>
            </c:strRef>
          </c:cat>
          <c:val>
            <c:numRef>
              <c:f>Sheet1!$H$2:$H$47</c:f>
              <c:numCache>
                <c:formatCode>0</c:formatCode>
                <c:ptCount val="46"/>
                <c:pt idx="0">
                  <c:v>5.5</c:v>
                </c:pt>
                <c:pt idx="1">
                  <c:v>12.7142857142857</c:v>
                </c:pt>
                <c:pt idx="2">
                  <c:v>4.14285714285714</c:v>
                </c:pt>
                <c:pt idx="3">
                  <c:v>3.14285714285714</c:v>
                </c:pt>
                <c:pt idx="4">
                  <c:v>5.99999999999999</c:v>
                </c:pt>
                <c:pt idx="5">
                  <c:v>5.71428571428572</c:v>
                </c:pt>
                <c:pt idx="6">
                  <c:v>3.85714285714286</c:v>
                </c:pt>
                <c:pt idx="7">
                  <c:v>3.14285714285714</c:v>
                </c:pt>
                <c:pt idx="8">
                  <c:v>6.85714285714286</c:v>
                </c:pt>
                <c:pt idx="9">
                  <c:v>22</c:v>
                </c:pt>
                <c:pt idx="10">
                  <c:v>3.28571428571429</c:v>
                </c:pt>
                <c:pt idx="11">
                  <c:v>3.85714285714285</c:v>
                </c:pt>
                <c:pt idx="12">
                  <c:v>2.71428571428571</c:v>
                </c:pt>
                <c:pt idx="13">
                  <c:v>3</c:v>
                </c:pt>
                <c:pt idx="14">
                  <c:v>2.71428571428572</c:v>
                </c:pt>
                <c:pt idx="15">
                  <c:v>2.14285714285715</c:v>
                </c:pt>
                <c:pt idx="16">
                  <c:v>2.42857142857143</c:v>
                </c:pt>
                <c:pt idx="17">
                  <c:v>3.57142857142857</c:v>
                </c:pt>
                <c:pt idx="18">
                  <c:v>1.28571428571429</c:v>
                </c:pt>
                <c:pt idx="19">
                  <c:v>5.42857142857142</c:v>
                </c:pt>
                <c:pt idx="20">
                  <c:v>5.57142857142857</c:v>
                </c:pt>
                <c:pt idx="21">
                  <c:v>3.57142857142857</c:v>
                </c:pt>
                <c:pt idx="22">
                  <c:v>4.14285714285714</c:v>
                </c:pt>
                <c:pt idx="23">
                  <c:v>3.28571428571429</c:v>
                </c:pt>
                <c:pt idx="24">
                  <c:v>4</c:v>
                </c:pt>
                <c:pt idx="25">
                  <c:v>3</c:v>
                </c:pt>
                <c:pt idx="26">
                  <c:v>2</c:v>
                </c:pt>
                <c:pt idx="27">
                  <c:v>2</c:v>
                </c:pt>
                <c:pt idx="28">
                  <c:v>2.28571428571428</c:v>
                </c:pt>
                <c:pt idx="29">
                  <c:v>3.57142857142857</c:v>
                </c:pt>
                <c:pt idx="30">
                  <c:v>2</c:v>
                </c:pt>
                <c:pt idx="31">
                  <c:v>2.85714285714286</c:v>
                </c:pt>
                <c:pt idx="32">
                  <c:v>4.14285714285714</c:v>
                </c:pt>
                <c:pt idx="33">
                  <c:v>2.85714285714286</c:v>
                </c:pt>
                <c:pt idx="34">
                  <c:v>4.28571428571428</c:v>
                </c:pt>
                <c:pt idx="35">
                  <c:v>2.71428571428571</c:v>
                </c:pt>
                <c:pt idx="36">
                  <c:v>2</c:v>
                </c:pt>
                <c:pt idx="37">
                  <c:v>1.71428571428571</c:v>
                </c:pt>
                <c:pt idx="38">
                  <c:v>3.57142857142857</c:v>
                </c:pt>
                <c:pt idx="39">
                  <c:v>1.71428571428571</c:v>
                </c:pt>
                <c:pt idx="40">
                  <c:v>1.28571428571429</c:v>
                </c:pt>
                <c:pt idx="41">
                  <c:v>4.71428571428571</c:v>
                </c:pt>
                <c:pt idx="42">
                  <c:v>3.57142857142857</c:v>
                </c:pt>
                <c:pt idx="43">
                  <c:v>1.85714285714286</c:v>
                </c:pt>
                <c:pt idx="44">
                  <c:v>2.57142857142857</c:v>
                </c:pt>
                <c:pt idx="45">
                  <c:v>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1969664"/>
        <c:axId val="201955584"/>
      </c:lineChart>
      <c:dateAx>
        <c:axId val="2019511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53664"/>
        <c:crosses val="autoZero"/>
        <c:auto val="0"/>
        <c:lblAlgn val="ctr"/>
        <c:lblOffset val="100"/>
        <c:baseTimeUnit val="days"/>
      </c:dateAx>
      <c:valAx>
        <c:axId val="201953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51104"/>
        <c:crosses val="autoZero"/>
        <c:crossBetween val="between"/>
      </c:valAx>
      <c:catAx>
        <c:axId val="2019696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55584"/>
        <c:crosses val="autoZero"/>
        <c:auto val="1"/>
        <c:lblAlgn val="ctr"/>
        <c:lblOffset val="100"/>
        <c:noMultiLvlLbl val="0"/>
      </c:catAx>
      <c:valAx>
        <c:axId val="201955584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6966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733120491900201"/>
          <c:y val="0.867904877625412"/>
          <c:w val="0.853494146860589"/>
          <c:h val="0.11126540531157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1">
          <a:lumMod val="6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0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b="0" cap="none" baseline="0" dirty="0">
                <a:effectLst/>
              </a:rPr>
              <a:t>Monthly Downloads</a:t>
            </a:r>
            <a:endParaRPr lang="zh-CN" altLang="zh-CN" b="0" cap="none" baseline="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813597863056863"/>
          <c:y val="0.134242623081206"/>
          <c:w val="0.85995106020818"/>
          <c:h val="0.69804104032450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79</c:v>
                </c:pt>
                <c:pt idx="1">
                  <c:v>85</c:v>
                </c:pt>
                <c:pt idx="2">
                  <c:v>179</c:v>
                </c:pt>
                <c:pt idx="3">
                  <c:v>62</c:v>
                </c:pt>
                <c:pt idx="4">
                  <c:v>65</c:v>
                </c:pt>
                <c:pt idx="5">
                  <c:v>69</c:v>
                </c:pt>
                <c:pt idx="6">
                  <c:v>51</c:v>
                </c:pt>
                <c:pt idx="7">
                  <c:v>69</c:v>
                </c:pt>
                <c:pt idx="8">
                  <c:v>63</c:v>
                </c:pt>
                <c:pt idx="9">
                  <c:v>78</c:v>
                </c:pt>
                <c:pt idx="10">
                  <c:v>4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C$2:$C$12</c:f>
              <c:numCache>
                <c:formatCode>General</c:formatCode>
                <c:ptCount val="11"/>
                <c:pt idx="0">
                  <c:v>20</c:v>
                </c:pt>
                <c:pt idx="1">
                  <c:v>54</c:v>
                </c:pt>
                <c:pt idx="2">
                  <c:v>76</c:v>
                </c:pt>
                <c:pt idx="3">
                  <c:v>21</c:v>
                </c:pt>
                <c:pt idx="4">
                  <c:v>51</c:v>
                </c:pt>
                <c:pt idx="5">
                  <c:v>39</c:v>
                </c:pt>
                <c:pt idx="6">
                  <c:v>27</c:v>
                </c:pt>
                <c:pt idx="7">
                  <c:v>25</c:v>
                </c:pt>
                <c:pt idx="8">
                  <c:v>26</c:v>
                </c:pt>
                <c:pt idx="9">
                  <c:v>28</c:v>
                </c:pt>
                <c:pt idx="10">
                  <c:v>13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BB0A30"/>
              </a:solidFill>
              <a:ln w="28575" cap="rnd">
                <a:noFill/>
                <a:round/>
              </a:ln>
              <a:effectLst/>
            </c:spPr>
          </c:dPt>
          <c:dLbls>
            <c:dLbl>
              <c:idx val="3"/>
              <c:delete val="1"/>
            </c:dLbl>
            <c:dLbl>
              <c:idx val="4"/>
              <c:delete val="1"/>
            </c:dLbl>
            <c:dLbl>
              <c:idx val="6"/>
              <c:delete val="1"/>
            </c:dLbl>
            <c:dLbl>
              <c:idx val="7"/>
              <c:delete val="1"/>
            </c:dLbl>
            <c:dLbl>
              <c:idx val="8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D$2:$D$12</c:f>
              <c:numCache>
                <c:formatCode>General</c:formatCode>
                <c:ptCount val="11"/>
                <c:pt idx="0">
                  <c:v>38</c:v>
                </c:pt>
                <c:pt idx="1">
                  <c:v>1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1</c:v>
                </c:pt>
                <c:pt idx="10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2530816"/>
        <c:axId val="202533504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7F7F7F"/>
              </a:solidFill>
              <a:ln w="9525" cap="flat" cmpd="sng" algn="ctr">
                <a:solidFill>
                  <a:schemeClr val="bg1">
                    <a:lumMod val="50000"/>
                  </a:schemeClr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E$2:$E$12</c:f>
              <c:numCache>
                <c:formatCode>0%</c:formatCode>
                <c:ptCount val="11"/>
                <c:pt idx="0">
                  <c:v>#N/A</c:v>
                </c:pt>
                <c:pt idx="1">
                  <c:v>1.02189781021898</c:v>
                </c:pt>
                <c:pt idx="2">
                  <c:v>1.83571428571429</c:v>
                </c:pt>
                <c:pt idx="3">
                  <c:v>0.32295719844358</c:v>
                </c:pt>
                <c:pt idx="4">
                  <c:v>1.39759036144578</c:v>
                </c:pt>
                <c:pt idx="5">
                  <c:v>0.948275862068966</c:v>
                </c:pt>
                <c:pt idx="6">
                  <c:v>0.709090909090909</c:v>
                </c:pt>
                <c:pt idx="7">
                  <c:v>1.20512820512821</c:v>
                </c:pt>
                <c:pt idx="8">
                  <c:v>0.946808510638298</c:v>
                </c:pt>
                <c:pt idx="9">
                  <c:v>1.20224719101124</c:v>
                </c:pt>
                <c:pt idx="10">
                  <c:v>0.495327102803738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chemeClr val="accent6">
                  <a:tint val="54000"/>
                </a:schemeClr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E2BCBF"/>
              </a:solidFill>
              <a:ln w="9525" cap="flat" cmpd="sng" algn="ctr">
                <a:solidFill>
                  <a:schemeClr val="accent6">
                    <a:tint val="54000"/>
                    <a:shade val="95000"/>
                  </a:schemeClr>
                </a:solidFill>
                <a:round/>
              </a:ln>
              <a:effectLst/>
            </c:spPr>
          </c:marker>
          <c:dLbls>
            <c:dLbl>
              <c:idx val="2"/>
              <c:layout>
                <c:manualLayout>
                  <c:x val="-0.0221623060952193"/>
                  <c:y val="0.030303030303030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F$2:$F$12</c:f>
              <c:numCache>
                <c:formatCode>0%</c:formatCode>
                <c:ptCount val="11"/>
                <c:pt idx="0">
                  <c:v>#N/A</c:v>
                </c:pt>
                <c:pt idx="1">
                  <c:v>0.0218978102189781</c:v>
                </c:pt>
                <c:pt idx="2">
                  <c:v>0.835714285714286</c:v>
                </c:pt>
                <c:pt idx="3">
                  <c:v>-0.67704280155642</c:v>
                </c:pt>
                <c:pt idx="4">
                  <c:v>0.397590361445783</c:v>
                </c:pt>
                <c:pt idx="5">
                  <c:v>-0.0517241379310345</c:v>
                </c:pt>
                <c:pt idx="6">
                  <c:v>-0.290909090909091</c:v>
                </c:pt>
                <c:pt idx="7">
                  <c:v>0.205128205128205</c:v>
                </c:pt>
                <c:pt idx="8">
                  <c:v>-0.0531914893617021</c:v>
                </c:pt>
                <c:pt idx="9">
                  <c:v>0.202247191011236</c:v>
                </c:pt>
                <c:pt idx="10">
                  <c:v>-0.504672897196262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2545408"/>
        <c:axId val="202543872"/>
      </c:lineChart>
      <c:catAx>
        <c:axId val="2025308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33504"/>
        <c:crosses val="autoZero"/>
        <c:auto val="1"/>
        <c:lblAlgn val="ctr"/>
        <c:lblOffset val="100"/>
        <c:noMultiLvlLbl val="0"/>
      </c:catAx>
      <c:valAx>
        <c:axId val="20253350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30816"/>
        <c:crosses val="autoZero"/>
        <c:crossBetween val="between"/>
      </c:valAx>
      <c:catAx>
        <c:axId val="2025454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43872"/>
        <c:crosses val="autoZero"/>
        <c:auto val="1"/>
        <c:lblAlgn val="ctr"/>
        <c:lblOffset val="100"/>
        <c:noMultiLvlLbl val="0"/>
      </c:catAx>
      <c:valAx>
        <c:axId val="20254387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454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Active Users-CW 08</a:t>
            </a:r>
            <a:endParaRPr lang="en-US" altLang="zh-CN" sz="1800" dirty="0"/>
          </a:p>
        </c:rich>
      </c:tx>
      <c:layout>
        <c:manualLayout>
          <c:xMode val="edge"/>
          <c:yMode val="edge"/>
          <c:x val="0.205052461464076"/>
          <c:y val="0.026268115942029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65:$A$71</c:f>
              <c:numCache>
                <c:formatCode>m/d;@</c:formatCode>
                <c:ptCount val="7"/>
                <c:pt idx="0" c:formatCode="m/d;@">
                  <c:v>43878</c:v>
                </c:pt>
                <c:pt idx="1" c:formatCode="m/d;@">
                  <c:v>43879</c:v>
                </c:pt>
                <c:pt idx="2" c:formatCode="m/d;@">
                  <c:v>43880</c:v>
                </c:pt>
                <c:pt idx="3" c:formatCode="m/d;@">
                  <c:v>43881</c:v>
                </c:pt>
                <c:pt idx="4" c:formatCode="m/d;@">
                  <c:v>43882</c:v>
                </c:pt>
                <c:pt idx="5" c:formatCode="m/d;@">
                  <c:v>43883</c:v>
                </c:pt>
                <c:pt idx="6" c:formatCode="m/d;@">
                  <c:v>43884</c:v>
                </c:pt>
              </c:numCache>
            </c:numRef>
          </c:cat>
          <c:val>
            <c:numRef>
              <c:f>Sheet1!$B$65:$B$71</c:f>
              <c:numCache>
                <c:formatCode>General</c:formatCode>
                <c:ptCount val="7"/>
                <c:pt idx="0">
                  <c:v>3</c:v>
                </c:pt>
                <c:pt idx="1">
                  <c:v>6</c:v>
                </c:pt>
                <c:pt idx="2">
                  <c:v>4</c:v>
                </c:pt>
                <c:pt idx="3">
                  <c:v>2</c:v>
                </c:pt>
                <c:pt idx="4">
                  <c:v>4</c:v>
                </c:pt>
                <c:pt idx="5">
                  <c:v>2</c:v>
                </c:pt>
                <c:pt idx="6">
                  <c:v>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03061504"/>
        <c:axId val="20308531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65:$A$71</c:f>
              <c:numCache>
                <c:formatCode>m/d;@</c:formatCode>
                <c:ptCount val="7"/>
                <c:pt idx="0" c:formatCode="m/d;@">
                  <c:v>43878</c:v>
                </c:pt>
                <c:pt idx="1" c:formatCode="m/d;@">
                  <c:v>43879</c:v>
                </c:pt>
                <c:pt idx="2" c:formatCode="m/d;@">
                  <c:v>43880</c:v>
                </c:pt>
                <c:pt idx="3" c:formatCode="m/d;@">
                  <c:v>43881</c:v>
                </c:pt>
                <c:pt idx="4" c:formatCode="m/d;@">
                  <c:v>43882</c:v>
                </c:pt>
                <c:pt idx="5" c:formatCode="m/d;@">
                  <c:v>43883</c:v>
                </c:pt>
                <c:pt idx="6" c:formatCode="m/d;@">
                  <c:v>43884</c:v>
                </c:pt>
              </c:numCache>
            </c:numRef>
          </c:cat>
          <c:val>
            <c:numRef>
              <c:f>Sheet1!$C$65:$C$71</c:f>
              <c:numCache>
                <c:formatCode>0%</c:formatCode>
                <c:ptCount val="7"/>
                <c:pt idx="0">
                  <c:v>-0.25</c:v>
                </c:pt>
                <c:pt idx="1">
                  <c:v>1</c:v>
                </c:pt>
                <c:pt idx="2">
                  <c:v>-0.333333333333333</c:v>
                </c:pt>
                <c:pt idx="3">
                  <c:v>-0.5</c:v>
                </c:pt>
                <c:pt idx="4">
                  <c:v>1</c:v>
                </c:pt>
                <c:pt idx="5">
                  <c:v>-0.5</c:v>
                </c:pt>
                <c:pt idx="6">
                  <c:v>0.5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3093120"/>
        <c:axId val="203087232"/>
      </c:lineChart>
      <c:dateAx>
        <c:axId val="20306150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5312"/>
        <c:crosses val="autoZero"/>
        <c:auto val="1"/>
        <c:lblOffset val="100"/>
        <c:baseTimeUnit val="days"/>
      </c:dateAx>
      <c:valAx>
        <c:axId val="203085312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61504"/>
        <c:crosses val="autoZero"/>
        <c:crossBetween val="between"/>
        <c:majorUnit val="5"/>
      </c:valAx>
      <c:dateAx>
        <c:axId val="203093120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7232"/>
        <c:crosses val="autoZero"/>
        <c:auto val="1"/>
        <c:lblOffset val="100"/>
        <c:baseTimeUnit val="days"/>
      </c:dateAx>
      <c:valAx>
        <c:axId val="20308723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9312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Active Users-CW 07</a:t>
            </a:r>
            <a:endParaRPr lang="en-US" altLang="zh-CN" sz="1800" dirty="0"/>
          </a:p>
        </c:rich>
      </c:tx>
      <c:layout>
        <c:manualLayout>
          <c:xMode val="edge"/>
          <c:yMode val="edge"/>
          <c:x val="0.205052461464076"/>
          <c:y val="0.026268115942029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8:$A$64</c:f>
              <c:numCache>
                <c:formatCode>m/d;@</c:formatCode>
                <c:ptCount val="7"/>
                <c:pt idx="0" c:formatCode="m/d;@">
                  <c:v>43871</c:v>
                </c:pt>
                <c:pt idx="1" c:formatCode="m/d;@">
                  <c:v>43872</c:v>
                </c:pt>
                <c:pt idx="2" c:formatCode="m/d;@">
                  <c:v>43873</c:v>
                </c:pt>
                <c:pt idx="3" c:formatCode="m/d;@">
                  <c:v>43874</c:v>
                </c:pt>
                <c:pt idx="4" c:formatCode="m/d;@">
                  <c:v>43875</c:v>
                </c:pt>
                <c:pt idx="5" c:formatCode="m/d;@">
                  <c:v>43876</c:v>
                </c:pt>
                <c:pt idx="6" c:formatCode="m/d;@">
                  <c:v>43877</c:v>
                </c:pt>
              </c:numCache>
            </c:numRef>
          </c:cat>
          <c:val>
            <c:numRef>
              <c:f>Sheet1!$B$58:$B$64</c:f>
              <c:numCache>
                <c:formatCode>General</c:formatCode>
                <c:ptCount val="7"/>
                <c:pt idx="0">
                  <c:v>4</c:v>
                </c:pt>
                <c:pt idx="1">
                  <c:v>1</c:v>
                </c:pt>
                <c:pt idx="2">
                  <c:v>4</c:v>
                </c:pt>
                <c:pt idx="3">
                  <c:v>4</c:v>
                </c:pt>
                <c:pt idx="4">
                  <c:v>5</c:v>
                </c:pt>
                <c:pt idx="5">
                  <c:v>3</c:v>
                </c:pt>
                <c:pt idx="6">
                  <c:v>4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03061504"/>
        <c:axId val="20308531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8:$A$64</c:f>
              <c:numCache>
                <c:formatCode>m/d;@</c:formatCode>
                <c:ptCount val="7"/>
                <c:pt idx="0" c:formatCode="m/d;@">
                  <c:v>43871</c:v>
                </c:pt>
                <c:pt idx="1" c:formatCode="m/d;@">
                  <c:v>43872</c:v>
                </c:pt>
                <c:pt idx="2" c:formatCode="m/d;@">
                  <c:v>43873</c:v>
                </c:pt>
                <c:pt idx="3" c:formatCode="m/d;@">
                  <c:v>43874</c:v>
                </c:pt>
                <c:pt idx="4" c:formatCode="m/d;@">
                  <c:v>43875</c:v>
                </c:pt>
                <c:pt idx="5" c:formatCode="m/d;@">
                  <c:v>43876</c:v>
                </c:pt>
                <c:pt idx="6" c:formatCode="m/d;@">
                  <c:v>43877</c:v>
                </c:pt>
              </c:numCache>
            </c:numRef>
          </c:cat>
          <c:val>
            <c:numRef>
              <c:f>Sheet1!$C$58:$C$64</c:f>
              <c:numCache>
                <c:formatCode>0%</c:formatCode>
                <c:ptCount val="7"/>
                <c:pt idx="0">
                  <c:v>0</c:v>
                </c:pt>
                <c:pt idx="1">
                  <c:v>-0.75</c:v>
                </c:pt>
                <c:pt idx="2">
                  <c:v>3</c:v>
                </c:pt>
                <c:pt idx="3">
                  <c:v>0</c:v>
                </c:pt>
                <c:pt idx="4">
                  <c:v>0.25</c:v>
                </c:pt>
                <c:pt idx="5">
                  <c:v>-0.4</c:v>
                </c:pt>
                <c:pt idx="6">
                  <c:v>0.333333333333333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3093120"/>
        <c:axId val="203087232"/>
      </c:lineChart>
      <c:dateAx>
        <c:axId val="20306150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5312"/>
        <c:crosses val="autoZero"/>
        <c:auto val="1"/>
        <c:lblOffset val="100"/>
        <c:baseTimeUnit val="days"/>
      </c:dateAx>
      <c:valAx>
        <c:axId val="203085312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61504"/>
        <c:crosses val="autoZero"/>
        <c:crossBetween val="between"/>
        <c:majorUnit val="5"/>
      </c:valAx>
      <c:dateAx>
        <c:axId val="203093120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7232"/>
        <c:crosses val="autoZero"/>
        <c:auto val="1"/>
        <c:lblOffset val="100"/>
        <c:baseTimeUnit val="days"/>
      </c:dateAx>
      <c:valAx>
        <c:axId val="20308723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9312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Active User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657679521351673"/>
          <c:y val="0.088921761618033"/>
          <c:w val="0.859898913605603"/>
          <c:h val="0.71878493129535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</c:strCache>
            </c:strRef>
          </c:cat>
          <c:val>
            <c:numRef>
              <c:f>Sheet1!$B$2:$B$47</c:f>
              <c:numCache>
                <c:formatCode>General</c:formatCode>
                <c:ptCount val="46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  <c:pt idx="39">
                  <c:v>21</c:v>
                </c:pt>
                <c:pt idx="40">
                  <c:v>14</c:v>
                </c:pt>
                <c:pt idx="41">
                  <c:v>26</c:v>
                </c:pt>
                <c:pt idx="42">
                  <c:v>25</c:v>
                </c:pt>
                <c:pt idx="43">
                  <c:v>14</c:v>
                </c:pt>
                <c:pt idx="44">
                  <c:v>25</c:v>
                </c:pt>
                <c:pt idx="45">
                  <c:v>24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5634944"/>
        <c:axId val="20572390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</c:strCache>
            </c:strRef>
          </c:cat>
          <c:val>
            <c:numRef>
              <c:f>Sheet1!$C$2:$C$47</c:f>
              <c:numCache>
                <c:formatCode>0%</c:formatCode>
                <c:ptCount val="46"/>
                <c:pt idx="0">
                  <c:v>#N/A</c:v>
                </c:pt>
                <c:pt idx="1">
                  <c:v>#N/A</c:v>
                </c:pt>
                <c:pt idx="2" c:formatCode="0.00%">
                  <c:v>0.478260869565217</c:v>
                </c:pt>
                <c:pt idx="3" c:formatCode="0.00%">
                  <c:v>0.313725490196078</c:v>
                </c:pt>
                <c:pt idx="4" c:formatCode="0.00%">
                  <c:v>0.276119402985075</c:v>
                </c:pt>
                <c:pt idx="5" c:formatCode="0.00%">
                  <c:v>0.16374269005848</c:v>
                </c:pt>
                <c:pt idx="6" c:formatCode="0.00%">
                  <c:v>0.206030150753769</c:v>
                </c:pt>
                <c:pt idx="7" c:formatCode="0.00%">
                  <c:v>0.15</c:v>
                </c:pt>
                <c:pt idx="8" c:formatCode="0.00%">
                  <c:v>0.13768115942029</c:v>
                </c:pt>
                <c:pt idx="9" c:formatCode="0.00%">
                  <c:v>0.417197452229299</c:v>
                </c:pt>
                <c:pt idx="10" c:formatCode="0.00%">
                  <c:v>0.123595505617978</c:v>
                </c:pt>
                <c:pt idx="11" c:formatCode="0.00%">
                  <c:v>0.072</c:v>
                </c:pt>
                <c:pt idx="12" c:formatCode="0.00%">
                  <c:v>0.0634328358208955</c:v>
                </c:pt>
                <c:pt idx="13" c:formatCode="0.00%">
                  <c:v>0.0526315789473684</c:v>
                </c:pt>
                <c:pt idx="14" c:formatCode="0.00%">
                  <c:v>0.0333333333333333</c:v>
                </c:pt>
                <c:pt idx="15" c:formatCode="0.00%">
                  <c:v>0.0387096774193548</c:v>
                </c:pt>
                <c:pt idx="16" c:formatCode="0.00%">
                  <c:v>0.0279503105590062</c:v>
                </c:pt>
                <c:pt idx="17" c:formatCode="0.00%">
                  <c:v>0.0498489425981873</c:v>
                </c:pt>
                <c:pt idx="18" c:formatCode="0.00%">
                  <c:v>0.0158273381294964</c:v>
                </c:pt>
                <c:pt idx="19" c:formatCode="0.00%">
                  <c:v>0.0368271954674221</c:v>
                </c:pt>
                <c:pt idx="20" c:formatCode="0.00%">
                  <c:v>0.0423497267759563</c:v>
                </c:pt>
                <c:pt idx="21" c:formatCode="0.00%">
                  <c:v>0.0432503276539974</c:v>
                </c:pt>
                <c:pt idx="22" c:formatCode="0.00%">
                  <c:v>0.0351758793969849</c:v>
                </c:pt>
                <c:pt idx="23" c:formatCode="0.00%">
                  <c:v>0.0364077669902913</c:v>
                </c:pt>
                <c:pt idx="24" c:formatCode="0.00%">
                  <c:v>0.0351288056206089</c:v>
                </c:pt>
                <c:pt idx="25" c:formatCode="0.00%">
                  <c:v>0.0203619909502262</c:v>
                </c:pt>
                <c:pt idx="26" c:formatCode="0.00%">
                  <c:v>0.0221729490022173</c:v>
                </c:pt>
                <c:pt idx="27" c:formatCode="0.00%">
                  <c:v>0.0162689804772234</c:v>
                </c:pt>
                <c:pt idx="28" c:formatCode="0.00%">
                  <c:v>0.0202774813233725</c:v>
                </c:pt>
                <c:pt idx="29" c:formatCode="0.00%">
                  <c:v>0.0313807531380753</c:v>
                </c:pt>
                <c:pt idx="30" c:formatCode="0.00%">
                  <c:v>0.0283975659229209</c:v>
                </c:pt>
                <c:pt idx="31" c:formatCode="0.00%">
                  <c:v>0.0266272189349112</c:v>
                </c:pt>
                <c:pt idx="32" c:formatCode="0.00%">
                  <c:v>0.0288184438040346</c:v>
                </c:pt>
                <c:pt idx="33" c:formatCode="0.00%">
                  <c:v>0.0224089635854342</c:v>
                </c:pt>
                <c:pt idx="34" c:formatCode="0.00%">
                  <c:v>0.0264840182648402</c:v>
                </c:pt>
                <c:pt idx="35" c:formatCode="0.00%">
                  <c:v>0.0186832740213523</c:v>
                </c:pt>
                <c:pt idx="36" c:formatCode="0.00%">
                  <c:v>0.0244541484716157</c:v>
                </c:pt>
                <c:pt idx="37" c:formatCode="0.00%">
                  <c:v>0.0144927536231884</c:v>
                </c:pt>
                <c:pt idx="38" c:formatCode="0.00%">
                  <c:v>0.0235294117647059</c:v>
                </c:pt>
                <c:pt idx="39" c:formatCode="0.00%">
                  <c:v>0.0172413793103448</c:v>
                </c:pt>
                <c:pt idx="40" c:formatCode="0.00%">
                  <c:v>0.0112994350282486</c:v>
                </c:pt>
                <c:pt idx="41" c:formatCode="0.00%">
                  <c:v>0.0207501995211492</c:v>
                </c:pt>
                <c:pt idx="42" c:formatCode="0.00%">
                  <c:v>0.019546520719312</c:v>
                </c:pt>
                <c:pt idx="43" c:formatCode="0.00%">
                  <c:v>0.0107361963190184</c:v>
                </c:pt>
                <c:pt idx="44" c:formatCode="0.00%">
                  <c:v>0.0189681335356601</c:v>
                </c:pt>
                <c:pt idx="45" c:formatCode="0.00%">
                  <c:v>0.0178704393149665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rgbClr val="C4C4C4"/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7</c:f>
              <c:strCache>
                <c:ptCount val="46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</c:strCache>
            </c:strRef>
          </c:cat>
          <c:val>
            <c:numRef>
              <c:f>Sheet1!$D$2:$D$47</c:f>
              <c:numCache>
                <c:formatCode>0%</c:formatCode>
                <c:ptCount val="46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-0.476190476190476</c:v>
                </c:pt>
                <c:pt idx="3" c:formatCode="0.00%">
                  <c:v>-0.0303030303030303</c:v>
                </c:pt>
                <c:pt idx="4" c:formatCode="0.00%">
                  <c:v>0.15625</c:v>
                </c:pt>
                <c:pt idx="5" c:formatCode="0.00%">
                  <c:v>-0.243243243243243</c:v>
                </c:pt>
                <c:pt idx="6" c:formatCode="0.00%">
                  <c:v>0.464285714285714</c:v>
                </c:pt>
                <c:pt idx="7" c:formatCode="0.00%">
                  <c:v>-0.121951219512195</c:v>
                </c:pt>
                <c:pt idx="8" c:formatCode="0.00%">
                  <c:v>0.0555555555555556</c:v>
                </c:pt>
                <c:pt idx="9" c:formatCode="0.00%">
                  <c:v>2.44736842105263</c:v>
                </c:pt>
                <c:pt idx="10" c:formatCode="0.00%">
                  <c:v>-0.580152671755725</c:v>
                </c:pt>
                <c:pt idx="11" c:formatCode="0.00%">
                  <c:v>-0.345454545454545</c:v>
                </c:pt>
                <c:pt idx="12" c:formatCode="0.00%">
                  <c:v>-0.0555555555555556</c:v>
                </c:pt>
                <c:pt idx="13" c:formatCode="0.00%">
                  <c:v>-0.117647058823529</c:v>
                </c:pt>
                <c:pt idx="14" c:formatCode="0.00%">
                  <c:v>-0.333333333333333</c:v>
                </c:pt>
                <c:pt idx="15" c:formatCode="0.00%">
                  <c:v>0.2</c:v>
                </c:pt>
                <c:pt idx="16" c:formatCode="0.00%">
                  <c:v>-0.25</c:v>
                </c:pt>
                <c:pt idx="17" c:formatCode="0.00%">
                  <c:v>0.833333333333333</c:v>
                </c:pt>
                <c:pt idx="18" c:formatCode="0.00%">
                  <c:v>-0.666666666666667</c:v>
                </c:pt>
                <c:pt idx="19" c:formatCode="0.00%">
                  <c:v>1.36363636363636</c:v>
                </c:pt>
                <c:pt idx="20" c:formatCode="0.00%">
                  <c:v>0.192307692307692</c:v>
                </c:pt>
                <c:pt idx="21" c:formatCode="0.00%">
                  <c:v>0.0645161290322581</c:v>
                </c:pt>
                <c:pt idx="22" c:formatCode="0.00%">
                  <c:v>-0.151515151515152</c:v>
                </c:pt>
                <c:pt idx="23" c:formatCode="0.00%">
                  <c:v>0.0714285714285714</c:v>
                </c:pt>
                <c:pt idx="24" c:formatCode="0.00%">
                  <c:v>0</c:v>
                </c:pt>
                <c:pt idx="25" c:formatCode="0.00%">
                  <c:v>-0.4</c:v>
                </c:pt>
                <c:pt idx="26" c:formatCode="0.00%">
                  <c:v>0.111111111111111</c:v>
                </c:pt>
                <c:pt idx="27" c:formatCode="0.00%">
                  <c:v>-0.25</c:v>
                </c:pt>
                <c:pt idx="28" c:formatCode="0.00%">
                  <c:v>0.266666666666667</c:v>
                </c:pt>
                <c:pt idx="29" c:formatCode="0.00%">
                  <c:v>0.578947368421053</c:v>
                </c:pt>
                <c:pt idx="30" c:formatCode="0.00%">
                  <c:v>-0.0666666666666667</c:v>
                </c:pt>
                <c:pt idx="31" c:formatCode="0.00%">
                  <c:v>-0.0357142857142857</c:v>
                </c:pt>
                <c:pt idx="32" c:formatCode="0.00%">
                  <c:v>0.111111111111111</c:v>
                </c:pt>
                <c:pt idx="33" c:formatCode="0.00%">
                  <c:v>-0.2</c:v>
                </c:pt>
                <c:pt idx="34" c:formatCode="0.00%">
                  <c:v>0.208333333333333</c:v>
                </c:pt>
                <c:pt idx="35" c:formatCode="0.00%">
                  <c:v>-0.275862068965517</c:v>
                </c:pt>
                <c:pt idx="36" c:formatCode="0.00%">
                  <c:v>0.333333333333333</c:v>
                </c:pt>
                <c:pt idx="37" c:formatCode="0.00%">
                  <c:v>-0.392857142857143</c:v>
                </c:pt>
                <c:pt idx="38" c:formatCode="0.00%">
                  <c:v>0.647058823529412</c:v>
                </c:pt>
                <c:pt idx="39" c:formatCode="0.00%">
                  <c:v>-0.25</c:v>
                </c:pt>
                <c:pt idx="40" c:formatCode="0.00%">
                  <c:v>-0.333333333333333</c:v>
                </c:pt>
                <c:pt idx="41" c:formatCode="0.00%">
                  <c:v>0.857142857142857</c:v>
                </c:pt>
                <c:pt idx="42" c:formatCode="0.00%">
                  <c:v>-0.0384615384615385</c:v>
                </c:pt>
                <c:pt idx="43" c:formatCode="0.00%">
                  <c:v>-0.44</c:v>
                </c:pt>
                <c:pt idx="44" c:formatCode="0.00%">
                  <c:v>0.785714285714286</c:v>
                </c:pt>
                <c:pt idx="45" c:formatCode="0.00%">
                  <c:v>-0.04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5728384"/>
        <c:axId val="205726464"/>
      </c:lineChart>
      <c:catAx>
        <c:axId val="20563494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3904"/>
        <c:crosses val="autoZero"/>
        <c:auto val="1"/>
        <c:lblAlgn val="ctr"/>
        <c:lblOffset val="100"/>
        <c:noMultiLvlLbl val="0"/>
      </c:catAx>
      <c:valAx>
        <c:axId val="20572390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Amount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634944"/>
        <c:crosses val="autoZero"/>
        <c:crossBetween val="between"/>
      </c:valAx>
      <c:catAx>
        <c:axId val="2057283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6464"/>
        <c:crosses val="autoZero"/>
        <c:auto val="1"/>
        <c:lblAlgn val="ctr"/>
        <c:lblOffset val="100"/>
        <c:noMultiLvlLbl val="0"/>
      </c:catAx>
      <c:valAx>
        <c:axId val="205726464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838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0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9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0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3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7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0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9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0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4661</cdr:x>
      <cdr:y>0.00365</cdr:y>
    </cdr:from>
    <cdr:to>
      <cdr:x>0.98671</cdr:x>
      <cdr:y>0.05614</cdr:y>
    </cdr:to>
    <cdr:sp>
      <cdr:nvSpPr>
        <cdr:cNvPr id="2" name="矩形 1"/>
        <cdr:cNvSpPr/>
      </cdr:nvSpPr>
      <cdr:spPr xmlns:a="http://schemas.openxmlformats.org/drawingml/2006/main">
        <a:xfrm xmlns:a="http://schemas.openxmlformats.org/drawingml/2006/main">
          <a:off x="4562475" y="12939"/>
          <a:ext cx="755015" cy="186205"/>
        </a:xfrm>
        <a:prstGeom xmlns:a="http://schemas.openxmlformats.org/drawingml/2006/main" prst="rect">
          <a:avLst/>
        </a:prstGeom>
        <a:noFill/>
      </cdr:spPr>
      <cdr:txBody xmlns:a="http://schemas.openxmlformats.org/drawingml/2006/main">
        <a:bodyPr vert="horz" wrap="none" lIns="0" tIns="0" rIns="0" bIns="0" rtlCol="0" anchor="t" anchorCtr="0">
          <a:spAutoFit/>
        </a:bodyPr>
        <a:p>
          <a:pPr marL="0" marR="0" indent="0" defTabSz="914400" eaLnBrk="1" fontAlgn="auto" latinLnBrk="0" hangingPunct="1">
            <a:lnSpc>
              <a:spcPct val="11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</a:pPr>
          <a:r>
            <a:rPr lang="en-US" sz="1100" kern="0" noProof="0" dirty="0"/>
            <a:t>Unit: Times</a:t>
          </a:r>
          <a:endParaRPr kumimoji="0" lang="en-US" sz="1100" b="0" i="0" u="none" strike="noStrike" kern="0" cap="none" spc="0" normalizeH="0" baseline="0" noProof="0" dirty="0">
            <a:ln>
              <a:noFill/>
            </a:ln>
            <a:effectLst/>
            <a:uLnTx/>
            <a:uFillTx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84661</cdr:x>
      <cdr:y>0.00365</cdr:y>
    </cdr:from>
    <cdr:to>
      <cdr:x>0.98671</cdr:x>
      <cdr:y>0.05614</cdr:y>
    </cdr:to>
    <cdr:sp>
      <cdr:nvSpPr>
        <cdr:cNvPr id="2" name="矩形 1"/>
        <cdr:cNvSpPr/>
      </cdr:nvSpPr>
      <cdr:spPr xmlns:a="http://schemas.openxmlformats.org/drawingml/2006/main">
        <a:xfrm xmlns:a="http://schemas.openxmlformats.org/drawingml/2006/main">
          <a:off x="4562475" y="12939"/>
          <a:ext cx="755015" cy="186205"/>
        </a:xfrm>
        <a:prstGeom xmlns:a="http://schemas.openxmlformats.org/drawingml/2006/main" prst="rect">
          <a:avLst/>
        </a:prstGeom>
        <a:noFill/>
      </cdr:spPr>
      <cdr:txBody xmlns:a="http://schemas.openxmlformats.org/drawingml/2006/main">
        <a:bodyPr vert="horz" wrap="none" lIns="0" tIns="0" rIns="0" bIns="0" rtlCol="0" anchor="t" anchorCtr="0">
          <a:spAutoFit/>
        </a:bodyPr>
        <a:p>
          <a:pPr marL="0" marR="0" indent="0" defTabSz="914400" eaLnBrk="1" fontAlgn="auto" latinLnBrk="0" hangingPunct="1">
            <a:lnSpc>
              <a:spcPct val="11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</a:pPr>
          <a:r>
            <a:rPr lang="en-US" sz="1100" kern="0" noProof="0" dirty="0"/>
            <a:t>Unit: Times</a:t>
          </a:r>
          <a:endParaRPr kumimoji="0" lang="en-US" sz="1100" b="0" i="0" u="none" strike="noStrike" kern="0" cap="none" spc="0" normalizeH="0" baseline="0" noProof="0" dirty="0">
            <a:ln>
              <a:noFill/>
            </a:ln>
            <a:effectLst/>
            <a:uLnTx/>
            <a:uFillTx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AA75A0-C9D0-4B3F-90BC-8AB9A354A6C2}" type="datetimeFigureOut">
              <a:rPr lang="de-DE" smtClean="0"/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D965F0-0622-4810-9925-69BF6AF2077F}" type="slidenum">
              <a:rPr lang="de-DE" smtClean="0"/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B1C147-AF00-4028-8E5C-577761F9EE39}" type="datetimeFigureOut">
              <a:rPr lang="de-DE" smtClean="0"/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68660" y="4343400"/>
            <a:ext cx="612068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79705" lvl="0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Textmasterformat bearbeiten</a:t>
            </a:r>
            <a:endParaRPr lang="de-DE" dirty="0"/>
          </a:p>
          <a:p>
            <a:pPr marL="360045" lvl="1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Zweite Ebene</a:t>
            </a:r>
            <a:endParaRPr lang="de-DE" dirty="0"/>
          </a:p>
          <a:p>
            <a:pPr marL="539750" lvl="2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Dritte Ebene</a:t>
            </a:r>
            <a:endParaRPr lang="de-DE" dirty="0"/>
          </a:p>
          <a:p>
            <a:pPr marL="720090" lvl="3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Vierte Ebene</a:t>
            </a:r>
            <a:endParaRPr lang="de-DE" dirty="0"/>
          </a:p>
          <a:p>
            <a:pPr marL="899795" lvl="4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21989A-92A0-46B8-8882-64828DCB153E}" type="slidenum">
              <a:rPr lang="de-DE" smtClean="0"/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200" kern="1200" dirty="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p>
            <a:endParaRPr lang="de-DE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p>
            <a:fld id="{7321989A-92A0-46B8-8882-64828DCB153E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1989A-92A0-46B8-8882-64828DCB153E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4" Type="http://schemas.microsoft.com/office/2007/relationships/hdphoto" Target="../media/image5.wdp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4" Type="http://schemas.microsoft.com/office/2007/relationships/hdphoto" Target="../media/image5.wdp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4" Type="http://schemas.microsoft.com/office/2007/relationships/hdphoto" Target="../media/image5.wdp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6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2066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916832"/>
            <a:ext cx="5616000" cy="4788768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17487" y="1916832"/>
            <a:ext cx="5616000" cy="4788768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1341438"/>
            <a:ext cx="5616000" cy="396000"/>
          </a:xfrm>
          <a:noFill/>
        </p:spPr>
        <p:txBody>
          <a:bodyPr lIns="0" tIns="108000" bIns="108000"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Add text</a:t>
            </a:r>
            <a:endParaRPr lang="en-GB" noProof="0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417486" y="1341438"/>
            <a:ext cx="5616000" cy="396000"/>
          </a:xfrm>
          <a:noFill/>
        </p:spPr>
        <p:txBody>
          <a:bodyPr lIns="0" tIns="108000" bIns="108000"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Add text</a:t>
            </a:r>
            <a:endParaRPr lang="en-GB" noProof="0" dirty="0"/>
          </a:p>
        </p:txBody>
      </p:sp>
      <p:cxnSp>
        <p:nvCxnSpPr>
          <p:cNvPr id="10" name="Gerade Verbindung 9"/>
          <p:cNvCxnSpPr/>
          <p:nvPr/>
        </p:nvCxnSpPr>
        <p:spPr bwMode="gray">
          <a:xfrm>
            <a:off x="695400" y="1736812"/>
            <a:ext cx="5616000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</a:ln>
          <a:effectLst/>
        </p:spPr>
      </p:cxnSp>
      <p:cxnSp>
        <p:nvCxnSpPr>
          <p:cNvPr id="11" name="Gerade Verbindung 10"/>
          <p:cNvCxnSpPr/>
          <p:nvPr/>
        </p:nvCxnSpPr>
        <p:spPr bwMode="gray">
          <a:xfrm>
            <a:off x="6420660" y="1736812"/>
            <a:ext cx="5616000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</a:ln>
          <a:effectLst/>
        </p:spPr>
      </p:cxnSp>
      <p:sp>
        <p:nvSpPr>
          <p:cNvPr id="12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2066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95400" y="1341438"/>
            <a:ext cx="5616000" cy="5364163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 sz="160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8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341439"/>
            <a:ext cx="5616000" cy="5364161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420036" y="1341438"/>
            <a:ext cx="5616000" cy="5364162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2192000" cy="6858000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by clicking on the icon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one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95399" y="1341438"/>
            <a:ext cx="11341025" cy="5364162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 dirty="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95400" y="1341438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 dirty="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95400" y="4077072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6420036" y="1341438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420037" y="4077072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pic>
        <p:nvPicPr>
          <p:cNvPr id="11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4" y="2522272"/>
            <a:ext cx="11340000" cy="815608"/>
          </a:xfrm>
        </p:spPr>
        <p:txBody>
          <a:bodyPr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5300" b="1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4" y="3537012"/>
            <a:ext cx="11340000" cy="286617"/>
          </a:xfrm>
        </p:spPr>
        <p:txBody>
          <a:bodyPr anchor="t" anchorCtr="0">
            <a:spAutoFit/>
          </a:bodyPr>
          <a:lstStyle>
            <a:lvl1pPr>
              <a:lnSpc>
                <a:spcPct val="110000"/>
              </a:lnSpc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: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algn="l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endParaRPr lang="en-GB" sz="1400" b="1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5324" y="3448113"/>
            <a:ext cx="11340000" cy="756084"/>
          </a:xfrm>
          <a:noFill/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53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6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684212" y="6536323"/>
            <a:ext cx="1219200" cy="1572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>
                <a:solidFill>
                  <a:schemeClr val="bg1"/>
                </a:solidFill>
              </a:rPr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: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5324" y="3448113"/>
            <a:ext cx="11340000" cy="756084"/>
          </a:xfrm>
          <a:noFill/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5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5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684212" y="6536323"/>
            <a:ext cx="1219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/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5084950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4760652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5"/>
          </p:nvPr>
        </p:nvSpPr>
        <p:spPr bwMode="gray">
          <a:xfrm>
            <a:off x="0" y="0"/>
            <a:ext cx="12192000" cy="3429000"/>
          </a:xfrm>
          <a:noFill/>
        </p:spPr>
        <p:txBody>
          <a:bodyPr bIns="900000" anchor="ctr" anchorCtr="0"/>
          <a:lstStyle>
            <a:lvl1pPr algn="ctr">
              <a:lnSpc>
                <a:spcPct val="100000"/>
              </a:lnSpc>
              <a:spcBef>
                <a:spcPts val="0"/>
              </a:spcBef>
              <a:defRPr/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pic>
        <p:nvPicPr>
          <p:cNvPr id="6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3753532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 userDrawn="1"/>
        </p:nvSpPr>
        <p:spPr>
          <a:xfrm>
            <a:off x="684212" y="6536323"/>
            <a:ext cx="1219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/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9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 userDrawn="1"/>
        </p:nvSpPr>
        <p:spPr>
          <a:xfrm>
            <a:off x="684212" y="6536323"/>
            <a:ext cx="1219200" cy="1572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>
                <a:solidFill>
                  <a:schemeClr val="bg1"/>
                </a:solidFill>
              </a:rPr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9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400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511824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28248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400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511824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28248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2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0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325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511992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28660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325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511992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28660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Our Topics</a:t>
            </a:r>
            <a:endParaRPr lang="en-GB" noProof="0" dirty="0"/>
          </a:p>
        </p:txBody>
      </p:sp>
      <p:sp>
        <p:nvSpPr>
          <p:cNvPr id="11" name="Textplatzhalter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95325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2" name="Textplatzhalter 12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11992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9" name="Textplatzhalter 12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8328660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21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5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ullet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324" y="1341438"/>
            <a:ext cx="11340000" cy="5364162"/>
          </a:xfrm>
        </p:spPr>
        <p:txBody>
          <a:bodyPr/>
          <a:lstStyle>
            <a:lvl1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 baseline="0"/>
            </a:lvl1pPr>
            <a:lvl2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2pPr>
            <a:lvl3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3pPr>
            <a:lvl4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4pPr>
            <a:lvl5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5pPr>
          </a:lstStyle>
          <a:p>
            <a:pPr lvl="0"/>
            <a:r>
              <a:rPr lang="de-DE" noProof="0"/>
              <a:t>Add text</a:t>
            </a:r>
            <a:endParaRPr lang="en-US" noProof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324" y="1341438"/>
            <a:ext cx="11340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0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9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695325" y="368299"/>
            <a:ext cx="11341099" cy="6124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695325" y="1341438"/>
            <a:ext cx="11341100" cy="53641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First level: Sub-headline</a:t>
            </a:r>
            <a:endParaRPr lang="en-GB" noProof="0" dirty="0"/>
          </a:p>
          <a:p>
            <a:pPr lvl="1"/>
            <a:r>
              <a:rPr lang="en-US" noProof="0" dirty="0"/>
              <a:t>Second level: First bullet point level</a:t>
            </a:r>
            <a:endParaRPr lang="en-US" noProof="0" dirty="0"/>
          </a:p>
          <a:p>
            <a:pPr lvl="2"/>
            <a:r>
              <a:rPr lang="en-US" noProof="0" dirty="0"/>
              <a:t>Third level: Second bullet point level</a:t>
            </a:r>
            <a:endParaRPr lang="en-US" noProof="0" dirty="0"/>
          </a:p>
          <a:p>
            <a:pPr lvl="3"/>
            <a:r>
              <a:rPr lang="en-US" noProof="0" dirty="0"/>
              <a:t>Fourth level: Third bullet point level</a:t>
            </a:r>
            <a:endParaRPr lang="en-US" noProof="0" dirty="0"/>
          </a:p>
          <a:p>
            <a:pPr lvl="4"/>
            <a:r>
              <a:rPr lang="en-US" noProof="0" dirty="0"/>
              <a:t>Fifth level: Fourth bullet point level</a:t>
            </a:r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 bwMode="gray">
          <a:xfrm>
            <a:off x="1043999" y="116081"/>
            <a:ext cx="10980000" cy="158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700" dirty="0">
                <a:latin typeface="Audi Type Extended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</p:sldLayoutIdLst>
  <p:hf hdr="0" ftr="0" dt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18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buSzPct val="100000"/>
        <a:buFont typeface="Arial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15900" indent="-215900" algn="l" defTabSz="914400" rtl="0" eaLnBrk="1" latinLnBrk="0" hangingPunct="1">
        <a:lnSpc>
          <a:spcPct val="110000"/>
        </a:lnSpc>
        <a:spcBef>
          <a:spcPts val="600"/>
        </a:spcBef>
        <a:buClr>
          <a:srgbClr val="CC0033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1800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tx2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47700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accent3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64235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tx2"/>
        </a:buClr>
        <a:buSzPct val="100000"/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.v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0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2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0.bin"/><Relationship Id="rId3" Type="http://schemas.openxmlformats.org/officeDocument/2006/relationships/tags" Target="../tags/tag23.xml"/><Relationship Id="rId2" Type="http://schemas.openxmlformats.org/officeDocument/2006/relationships/chart" Target="../charts/chart11.xml"/><Relationship Id="rId1" Type="http://schemas.openxmlformats.org/officeDocument/2006/relationships/chart" Target="../charts/chart10.xml"/></Relationships>
</file>

<file path=ppt/slides/_rels/slide1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1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26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1.bin"/><Relationship Id="rId2" Type="http://schemas.openxmlformats.org/officeDocument/2006/relationships/tags" Target="../tags/tag25.xml"/><Relationship Id="rId1" Type="http://schemas.openxmlformats.org/officeDocument/2006/relationships/chart" Target="../charts/chart12.xml"/></Relationships>
</file>

<file path=ppt/slides/_rels/slide12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2.v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28.xml"/><Relationship Id="rId3" Type="http://schemas.openxmlformats.org/officeDocument/2006/relationships/image" Target="../media/image8.emf"/><Relationship Id="rId2" Type="http://schemas.openxmlformats.org/officeDocument/2006/relationships/oleObject" Target="../embeddings/oleObject12.bin"/><Relationship Id="rId1" Type="http://schemas.openxmlformats.org/officeDocument/2006/relationships/tags" Target="../tags/tag27.xml"/></Relationships>
</file>

<file path=ppt/slides/_rels/slide1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3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30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3.bin"/><Relationship Id="rId2" Type="http://schemas.openxmlformats.org/officeDocument/2006/relationships/tags" Target="../tags/tag29.xml"/><Relationship Id="rId1" Type="http://schemas.openxmlformats.org/officeDocument/2006/relationships/chart" Target="../charts/chart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4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32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4.bin"/><Relationship Id="rId3" Type="http://schemas.openxmlformats.org/officeDocument/2006/relationships/tags" Target="../tags/tag31.xml"/><Relationship Id="rId2" Type="http://schemas.openxmlformats.org/officeDocument/2006/relationships/chart" Target="../charts/chart15.xml"/><Relationship Id="rId1" Type="http://schemas.openxmlformats.org/officeDocument/2006/relationships/chart" Target="../charts/chart14.xml"/></Relationships>
</file>

<file path=ppt/slides/_rels/slide1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5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34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5.bin"/><Relationship Id="rId2" Type="http://schemas.openxmlformats.org/officeDocument/2006/relationships/tags" Target="../tags/tag33.xml"/><Relationship Id="rId1" Type="http://schemas.openxmlformats.org/officeDocument/2006/relationships/chart" Target="../charts/chart1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6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3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6.bin"/><Relationship Id="rId3" Type="http://schemas.openxmlformats.org/officeDocument/2006/relationships/tags" Target="../tags/tag35.xml"/><Relationship Id="rId2" Type="http://schemas.openxmlformats.org/officeDocument/2006/relationships/chart" Target="../charts/chart18.xml"/><Relationship Id="rId1" Type="http://schemas.openxmlformats.org/officeDocument/2006/relationships/chart" Target="../charts/chart17.xml"/></Relationships>
</file>

<file path=ppt/slides/_rels/slide1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7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38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7.bin"/><Relationship Id="rId2" Type="http://schemas.openxmlformats.org/officeDocument/2006/relationships/tags" Target="../tags/tag37.xml"/><Relationship Id="rId1" Type="http://schemas.openxmlformats.org/officeDocument/2006/relationships/chart" Target="../charts/chart19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8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4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8.bin"/><Relationship Id="rId3" Type="http://schemas.openxmlformats.org/officeDocument/2006/relationships/tags" Target="../tags/tag39.xml"/><Relationship Id="rId2" Type="http://schemas.openxmlformats.org/officeDocument/2006/relationships/chart" Target="../charts/chart21.xml"/><Relationship Id="rId1" Type="http://schemas.openxmlformats.org/officeDocument/2006/relationships/chart" Target="../charts/chart20.xml"/></Relationships>
</file>

<file path=ppt/slides/_rels/slide1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9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42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9.bin"/><Relationship Id="rId2" Type="http://schemas.openxmlformats.org/officeDocument/2006/relationships/tags" Target="../tags/tag41.xml"/><Relationship Id="rId1" Type="http://schemas.openxmlformats.org/officeDocument/2006/relationships/chart" Target="../charts/chart22.xml"/></Relationships>
</file>

<file path=ppt/slides/_rels/slide2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.xml"/><Relationship Id="rId6" Type="http://schemas.openxmlformats.org/officeDocument/2006/relationships/vmlDrawing" Target="../drawings/vmlDrawing2.v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4.xml"/><Relationship Id="rId3" Type="http://schemas.openxmlformats.org/officeDocument/2006/relationships/image" Target="../media/image7.emf"/><Relationship Id="rId2" Type="http://schemas.openxmlformats.org/officeDocument/2006/relationships/oleObject" Target="../embeddings/oleObject2.bin"/><Relationship Id="rId1" Type="http://schemas.openxmlformats.org/officeDocument/2006/relationships/tags" Target="../tags/tag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0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4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0.bin"/><Relationship Id="rId3" Type="http://schemas.openxmlformats.org/officeDocument/2006/relationships/tags" Target="../tags/tag43.xml"/><Relationship Id="rId2" Type="http://schemas.openxmlformats.org/officeDocument/2006/relationships/chart" Target="../charts/chart24.xml"/><Relationship Id="rId1" Type="http://schemas.openxmlformats.org/officeDocument/2006/relationships/chart" Target="../charts/chart23.xml"/></Relationships>
</file>

<file path=ppt/slides/_rels/slide2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1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46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1.bin"/><Relationship Id="rId2" Type="http://schemas.openxmlformats.org/officeDocument/2006/relationships/tags" Target="../tags/tag45.xml"/><Relationship Id="rId1" Type="http://schemas.openxmlformats.org/officeDocument/2006/relationships/chart" Target="../charts/chart25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2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48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2.bin"/><Relationship Id="rId3" Type="http://schemas.openxmlformats.org/officeDocument/2006/relationships/tags" Target="../tags/tag47.xml"/><Relationship Id="rId2" Type="http://schemas.openxmlformats.org/officeDocument/2006/relationships/chart" Target="../charts/chart27.xml"/><Relationship Id="rId1" Type="http://schemas.openxmlformats.org/officeDocument/2006/relationships/chart" Target="../charts/chart26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3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5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3.bin"/><Relationship Id="rId3" Type="http://schemas.openxmlformats.org/officeDocument/2006/relationships/tags" Target="../tags/tag49.xml"/><Relationship Id="rId2" Type="http://schemas.openxmlformats.org/officeDocument/2006/relationships/chart" Target="../charts/chart29.xml"/><Relationship Id="rId1" Type="http://schemas.openxmlformats.org/officeDocument/2006/relationships/chart" Target="../charts/chart28.xml"/></Relationships>
</file>

<file path=ppt/slides/_rels/slide24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4.v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52.xml"/><Relationship Id="rId3" Type="http://schemas.openxmlformats.org/officeDocument/2006/relationships/image" Target="../media/image8.emf"/><Relationship Id="rId2" Type="http://schemas.openxmlformats.org/officeDocument/2006/relationships/oleObject" Target="../embeddings/oleObject24.bin"/><Relationship Id="rId1" Type="http://schemas.openxmlformats.org/officeDocument/2006/relationships/tags" Target="../tags/tag51.xml"/></Relationships>
</file>

<file path=ppt/slides/_rels/slide2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5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54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5.bin"/><Relationship Id="rId2" Type="http://schemas.openxmlformats.org/officeDocument/2006/relationships/tags" Target="../tags/tag53.xml"/><Relationship Id="rId1" Type="http://schemas.openxmlformats.org/officeDocument/2006/relationships/chart" Target="../charts/chart30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6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5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6.bin"/><Relationship Id="rId3" Type="http://schemas.openxmlformats.org/officeDocument/2006/relationships/tags" Target="../tags/tag55.xml"/><Relationship Id="rId2" Type="http://schemas.openxmlformats.org/officeDocument/2006/relationships/chart" Target="../charts/chart32.xml"/><Relationship Id="rId1" Type="http://schemas.openxmlformats.org/officeDocument/2006/relationships/chart" Target="../charts/chart31.xml"/></Relationships>
</file>

<file path=ppt/slides/_rels/slide2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7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58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7.bin"/><Relationship Id="rId2" Type="http://schemas.openxmlformats.org/officeDocument/2006/relationships/tags" Target="../tags/tag57.xml"/><Relationship Id="rId1" Type="http://schemas.openxmlformats.org/officeDocument/2006/relationships/chart" Target="../charts/chart33.xml"/></Relationships>
</file>

<file path=ppt/slides/_rels/slide28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8.v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60.xml"/><Relationship Id="rId3" Type="http://schemas.openxmlformats.org/officeDocument/2006/relationships/image" Target="../media/image8.emf"/><Relationship Id="rId2" Type="http://schemas.openxmlformats.org/officeDocument/2006/relationships/oleObject" Target="../embeddings/oleObject28.bin"/><Relationship Id="rId1" Type="http://schemas.openxmlformats.org/officeDocument/2006/relationships/tags" Target="../tags/tag59.xml"/></Relationships>
</file>

<file path=ppt/slides/_rels/slide2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9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62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9.bin"/><Relationship Id="rId2" Type="http://schemas.openxmlformats.org/officeDocument/2006/relationships/tags" Target="../tags/tag61.xml"/><Relationship Id="rId1" Type="http://schemas.openxmlformats.org/officeDocument/2006/relationships/chart" Target="../charts/chart34.xml"/></Relationships>
</file>

<file path=ppt/slides/_rels/slide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3" Type="http://schemas.openxmlformats.org/officeDocument/2006/relationships/image" Target="../media/image7.emf"/><Relationship Id="rId2" Type="http://schemas.openxmlformats.org/officeDocument/2006/relationships/oleObject" Target="../embeddings/oleObject3.bin"/><Relationship Id="rId1" Type="http://schemas.openxmlformats.org/officeDocument/2006/relationships/tags" Target="../tags/tag5.xml"/></Relationships>
</file>

<file path=ppt/slides/_rels/slide30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2.xml"/><Relationship Id="rId8" Type="http://schemas.openxmlformats.org/officeDocument/2006/relationships/vmlDrawing" Target="../drawings/vmlDrawing30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6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0.bin"/><Relationship Id="rId3" Type="http://schemas.openxmlformats.org/officeDocument/2006/relationships/tags" Target="../tags/tag63.xml"/><Relationship Id="rId2" Type="http://schemas.openxmlformats.org/officeDocument/2006/relationships/chart" Target="../charts/chart36.xml"/><Relationship Id="rId1" Type="http://schemas.openxmlformats.org/officeDocument/2006/relationships/chart" Target="../charts/chart35.xml"/></Relationships>
</file>

<file path=ppt/slides/_rels/slide3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1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66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31.bin"/><Relationship Id="rId2" Type="http://schemas.openxmlformats.org/officeDocument/2006/relationships/tags" Target="../tags/tag65.xml"/><Relationship Id="rId1" Type="http://schemas.openxmlformats.org/officeDocument/2006/relationships/chart" Target="../charts/chart37.xml"/></Relationships>
</file>

<file path=ppt/slides/_rels/slide32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32.v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68.xml"/><Relationship Id="rId3" Type="http://schemas.openxmlformats.org/officeDocument/2006/relationships/image" Target="../media/image8.emf"/><Relationship Id="rId2" Type="http://schemas.openxmlformats.org/officeDocument/2006/relationships/oleObject" Target="../embeddings/oleObject32.bin"/><Relationship Id="rId1" Type="http://schemas.openxmlformats.org/officeDocument/2006/relationships/tags" Target="../tags/tag67.xml"/></Relationships>
</file>

<file path=ppt/slides/_rels/slide3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3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71.xml"/><Relationship Id="rId4" Type="http://schemas.openxmlformats.org/officeDocument/2006/relationships/tags" Target="../tags/tag70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33.bin"/><Relationship Id="rId1" Type="http://schemas.openxmlformats.org/officeDocument/2006/relationships/tags" Target="../tags/tag69.xml"/></Relationships>
</file>

<file path=ppt/slides/_rels/slide34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4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74.xml"/><Relationship Id="rId4" Type="http://schemas.openxmlformats.org/officeDocument/2006/relationships/tags" Target="../tags/tag73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34.bin"/><Relationship Id="rId1" Type="http://schemas.openxmlformats.org/officeDocument/2006/relationships/tags" Target="../tags/tag72.xml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8.xml"/><Relationship Id="rId8" Type="http://schemas.openxmlformats.org/officeDocument/2006/relationships/tags" Target="../tags/tag11.xml"/><Relationship Id="rId7" Type="http://schemas.openxmlformats.org/officeDocument/2006/relationships/tags" Target="../tags/tag10.xml"/><Relationship Id="rId6" Type="http://schemas.openxmlformats.org/officeDocument/2006/relationships/tags" Target="../tags/tag9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Relationship Id="rId3" Type="http://schemas.openxmlformats.org/officeDocument/2006/relationships/tags" Target="../tags/tag8.xml"/><Relationship Id="rId2" Type="http://schemas.openxmlformats.org/officeDocument/2006/relationships/chart" Target="../charts/chart2.xml"/><Relationship Id="rId10" Type="http://schemas.openxmlformats.org/officeDocument/2006/relationships/vmlDrawing" Target="../drawings/vmlDrawing4.vml"/><Relationship Id="rId1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5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5.bin"/><Relationship Id="rId2" Type="http://schemas.openxmlformats.org/officeDocument/2006/relationships/tags" Target="../tags/tag12.xml"/><Relationship Id="rId1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1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Relationship Id="rId3" Type="http://schemas.openxmlformats.org/officeDocument/2006/relationships/tags" Target="../tags/tag15.xml"/><Relationship Id="rId2" Type="http://schemas.openxmlformats.org/officeDocument/2006/relationships/chart" Target="../charts/chart5.xml"/><Relationship Id="rId1" Type="http://schemas.openxmlformats.org/officeDocument/2006/relationships/chart" Target="../charts/chart4.xml"/></Relationships>
</file>

<file path=ppt/slides/_rels/slide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7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18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7.bin"/><Relationship Id="rId2" Type="http://schemas.openxmlformats.org/officeDocument/2006/relationships/tags" Target="../tags/tag17.xml"/><Relationship Id="rId1" Type="http://schemas.openxmlformats.org/officeDocument/2006/relationships/chart" Target="../charts/char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8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2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Relationship Id="rId3" Type="http://schemas.openxmlformats.org/officeDocument/2006/relationships/tags" Target="../tags/tag19.xml"/><Relationship Id="rId2" Type="http://schemas.openxmlformats.org/officeDocument/2006/relationships/chart" Target="../charts/chart8.xml"/><Relationship Id="rId1" Type="http://schemas.openxmlformats.org/officeDocument/2006/relationships/chart" Target="../charts/chart7.xml"/></Relationships>
</file>

<file path=ppt/slides/_rels/slide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9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22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9.bin"/><Relationship Id="rId2" Type="http://schemas.openxmlformats.org/officeDocument/2006/relationships/tags" Target="../tags/tag21.xml"/><Relationship Id="rId1" Type="http://schemas.openxmlformats.org/officeDocument/2006/relationships/chart" Target="../charts/char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altLang="zh-CN" dirty="0"/>
              <a:t>Weekly</a:t>
            </a:r>
            <a:r>
              <a:rPr lang="en-US" dirty="0"/>
              <a:t> Report of Go e-</a:t>
            </a:r>
            <a:r>
              <a:rPr lang="en-US" dirty="0" err="1"/>
              <a:t>tron</a:t>
            </a:r>
            <a:r>
              <a:rPr lang="en-US" dirty="0"/>
              <a:t> App (CW</a:t>
            </a:r>
            <a:r>
              <a:rPr lang="en-US" altLang="zh-CN" dirty="0"/>
              <a:t>08</a:t>
            </a:r>
            <a:r>
              <a:rPr lang="en-US" dirty="0"/>
              <a:t>, 20</a:t>
            </a:r>
            <a:r>
              <a:rPr lang="en-US" altLang="zh-CN" dirty="0"/>
              <a:t>20</a:t>
            </a:r>
            <a:r>
              <a:rPr lang="en-US" dirty="0"/>
              <a:t>)</a:t>
            </a:r>
            <a:r>
              <a:rPr lang="en-GB" dirty="0"/>
              <a:t> </a:t>
            </a:r>
            <a:br>
              <a:rPr lang="en-GB" dirty="0"/>
            </a:br>
            <a:br>
              <a:rPr lang="en-GB" dirty="0"/>
            </a:br>
            <a:r>
              <a:rPr lang="en-GB" dirty="0"/>
              <a:t>F</a:t>
            </a:r>
            <a:r>
              <a:rPr lang="en-US" altLang="en-GB" dirty="0"/>
              <a:t>eb</a:t>
            </a:r>
            <a:r>
              <a:rPr lang="en-US" altLang="zh-CN" dirty="0"/>
              <a:t> 24</a:t>
            </a:r>
            <a:r>
              <a:rPr lang="en-GB" dirty="0"/>
              <a:t>,2020</a:t>
            </a:r>
            <a:br>
              <a:rPr lang="en-GB" dirty="0"/>
            </a:br>
            <a:endParaRPr lang="en-US" dirty="0"/>
          </a:p>
        </p:txBody>
      </p:sp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07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active users &amp; average daily active users 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95325" y="996543"/>
            <a:ext cx="1119857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active users </a:t>
            </a:r>
            <a:r>
              <a:rPr lang="en-US" altLang="zh-CN" sz="1400" kern="0" dirty="0"/>
              <a:t>: the average active users equals to total active users from go live till end of this week/number of weeks;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weekly active user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active user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active users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active user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2484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369839" y="2149415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32439" y="2149415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21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actives user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302734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active users: the number of users who used the app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5094" y="1302386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1302590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264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ily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CW08 vs. CW07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5387693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journeys</a:t>
            </a:r>
            <a:r>
              <a:rPr lang="en-US" altLang="zh-CN" sz="1400" kern="0" dirty="0"/>
              <a:t>: the number of total journeys recorded by the app per day.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9" name="TextBox 1"/>
          <p:cNvSpPr txBox="1"/>
          <p:nvPr/>
        </p:nvSpPr>
        <p:spPr>
          <a:xfrm>
            <a:off x="1158240" y="3598786"/>
            <a:ext cx="30841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lang="en-US" altLang="zh-CN" sz="1400" kern="0" baseline="0" dirty="0"/>
              <a:t>08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" name="TextBox 1"/>
          <p:cNvSpPr txBox="1"/>
          <p:nvPr/>
        </p:nvSpPr>
        <p:spPr>
          <a:xfrm>
            <a:off x="7349490" y="3598786"/>
            <a:ext cx="30841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lang="en-US" altLang="zh-CN" sz="1400" kern="0" baseline="0" dirty="0"/>
              <a:t>07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02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708679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j</a:t>
            </a:r>
            <a:r>
              <a:rPr lang="en-US" altLang="zh-CN" sz="1400" dirty="0"/>
              <a:t>ourneys</a:t>
            </a:r>
            <a:r>
              <a:rPr lang="en-US" altLang="zh-CN" sz="1400" kern="0" dirty="0"/>
              <a:t>: the number of total journeys recorded by the app per week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540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76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journeys &amp; average daily journeys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83185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09600" y="1015336"/>
            <a:ext cx="10908435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journeys </a:t>
            </a:r>
            <a:r>
              <a:rPr lang="en-US" altLang="zh-CN" sz="1400" kern="0" dirty="0"/>
              <a:t>: the average weekly journeys equals to total journeys from go live till end of this week/number of weeks;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weekly journey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journey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journeys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journey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6811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257800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72800" y="2158042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17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</a:t>
            </a:r>
            <a:r>
              <a:rPr lang="en-US" dirty="0"/>
              <a:t>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6745436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j</a:t>
            </a:r>
            <a:r>
              <a:rPr lang="en-US" altLang="zh-CN" sz="1400" dirty="0"/>
              <a:t>ourneys </a:t>
            </a:r>
            <a:r>
              <a:rPr lang="en-US" altLang="zh-CN" sz="1400" kern="0" dirty="0"/>
              <a:t>: the number of total journeys recorded by the app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540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354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68299"/>
            <a:ext cx="11341099" cy="612429"/>
          </a:xfrm>
        </p:spPr>
        <p:txBody>
          <a:bodyPr/>
          <a:lstStyle/>
          <a:p>
            <a:r>
              <a:rPr lang="en-US" dirty="0"/>
              <a:t>Daily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CW08 vs. CW07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9185207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r</a:t>
            </a:r>
            <a:r>
              <a:rPr lang="en-US" altLang="zh-CN" sz="1400" dirty="0" err="1"/>
              <a:t>unning</a:t>
            </a:r>
            <a:r>
              <a:rPr lang="en-US" altLang="zh-CN" sz="1400" dirty="0"/>
              <a:t> time </a:t>
            </a:r>
            <a:r>
              <a:rPr lang="en-US" altLang="zh-CN" sz="1400" kern="0" dirty="0"/>
              <a:t>: the average using time of the app per active user per day(total using time / number of daily active users).</a:t>
            </a:r>
            <a:endParaRPr kumimoji="0" lang="en-US" sz="140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8" name="图表 7"/>
          <p:cNvGraphicFramePr/>
          <p:nvPr/>
        </p:nvGraphicFramePr>
        <p:xfrm>
          <a:off x="779145" y="2133700"/>
          <a:ext cx="5305425" cy="3510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189979" y="213360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3" name="TextBox 8"/>
          <p:cNvSpPr txBox="1"/>
          <p:nvPr/>
        </p:nvSpPr>
        <p:spPr>
          <a:xfrm>
            <a:off x="10738613" y="213360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4" name="图表 3"/>
          <p:cNvGraphicFramePr/>
          <p:nvPr/>
        </p:nvGraphicFramePr>
        <p:xfrm>
          <a:off x="6447790" y="2133700"/>
          <a:ext cx="5305425" cy="3510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655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459321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r</a:t>
            </a:r>
            <a:r>
              <a:rPr lang="en-US" altLang="zh-CN" sz="1400" dirty="0"/>
              <a:t>unning time </a:t>
            </a:r>
            <a:r>
              <a:rPr lang="en-US" altLang="zh-CN" sz="1400" kern="0" dirty="0"/>
              <a:t>: the average using time of the app per active user per week(total using time / number of daily active users)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916940" y="1447800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72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running time &amp; average daily running time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1128353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: the average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from go live till end of this week/number of weeks;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running time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running time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00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201524" y="2132162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16524" y="2140789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421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</a:t>
            </a:r>
            <a:r>
              <a:rPr lang="en-US" dirty="0"/>
              <a:t>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634048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r</a:t>
            </a:r>
            <a:r>
              <a:rPr lang="en-US" altLang="zh-CN" sz="1400" dirty="0"/>
              <a:t>unning time </a:t>
            </a:r>
            <a:r>
              <a:rPr lang="en-US" altLang="zh-CN" sz="1400" kern="0" dirty="0"/>
              <a:t>: the average using time of the app per active user per month(total using time / number of daily active users)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302386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544924" y="130259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645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695324" y="990600"/>
            <a:ext cx="5400676" cy="5181600"/>
          </a:xfrm>
        </p:spPr>
        <p:txBody>
          <a:bodyPr/>
          <a:lstStyle/>
          <a:p>
            <a:r>
              <a:rPr lang="en-US" altLang="zh-CN" b="1" dirty="0"/>
              <a:t>App Downloads</a:t>
            </a:r>
            <a:endParaRPr lang="en-US" altLang="zh-CN" b="1" dirty="0"/>
          </a:p>
          <a:p>
            <a:r>
              <a:rPr lang="en-US" altLang="zh-CN" sz="1000" dirty="0"/>
              <a:t>Daily downloads CW08 vs. CW07 </a:t>
            </a:r>
            <a:r>
              <a:rPr lang="en-US" sz="1000" b="1" dirty="0"/>
              <a:t>– Page 4</a:t>
            </a:r>
            <a:endParaRPr lang="en-US" sz="1000" b="1" dirty="0"/>
          </a:p>
          <a:p>
            <a:r>
              <a:rPr lang="en-US" altLang="zh-CN" sz="1000" dirty="0"/>
              <a:t>Weekly downloads since go live </a:t>
            </a:r>
            <a:r>
              <a:rPr lang="en-US" sz="1000" b="1" dirty="0"/>
              <a:t>– Page 5</a:t>
            </a:r>
            <a:endParaRPr lang="en-US" sz="1000" b="1" dirty="0"/>
          </a:p>
          <a:p>
            <a:r>
              <a:rPr lang="en-US" altLang="zh-CN" sz="1000" dirty="0"/>
              <a:t>Average weekly downloads &amp; average daily downloads</a:t>
            </a:r>
            <a:r>
              <a:rPr lang="en-US" altLang="zh-CN" sz="1000" b="1" dirty="0"/>
              <a:t>–</a:t>
            </a:r>
            <a:r>
              <a:rPr lang="en-US" altLang="zh-CN" sz="1000" dirty="0"/>
              <a:t> </a:t>
            </a:r>
            <a:r>
              <a:rPr lang="en-US" altLang="zh-CN" sz="1000" b="1" dirty="0"/>
              <a:t>Page 6</a:t>
            </a:r>
            <a:endParaRPr lang="en-US" altLang="zh-CN" sz="1000" b="1" dirty="0"/>
          </a:p>
          <a:p>
            <a:r>
              <a:rPr lang="en-US" altLang="zh-CN" sz="1000" dirty="0"/>
              <a:t>Monthly downloads since go live </a:t>
            </a:r>
            <a:r>
              <a:rPr lang="en-US" altLang="zh-CN" sz="1000" b="1" dirty="0"/>
              <a:t>– Page 7</a:t>
            </a:r>
            <a:endParaRPr lang="en-US" altLang="zh-CN" sz="1000" b="1" dirty="0"/>
          </a:p>
          <a:p>
            <a:r>
              <a:rPr lang="en-US" altLang="zh-CN" b="1" dirty="0"/>
              <a:t>Active Users</a:t>
            </a:r>
            <a:endParaRPr lang="en-US" altLang="zh-CN" b="1" dirty="0"/>
          </a:p>
          <a:p>
            <a:r>
              <a:rPr lang="en-US" altLang="zh-CN" sz="1000" dirty="0"/>
              <a:t>Daily active users CW08 vs. CW07 </a:t>
            </a:r>
            <a:r>
              <a:rPr lang="en-US" altLang="zh-CN" sz="1000" b="1" dirty="0"/>
              <a:t>– Page 8</a:t>
            </a:r>
            <a:endParaRPr lang="en-US" altLang="zh-CN" sz="1000" b="1" dirty="0"/>
          </a:p>
          <a:p>
            <a:r>
              <a:rPr lang="en-US" altLang="zh-CN" sz="1000" dirty="0"/>
              <a:t>Weekly active users since go live </a:t>
            </a:r>
            <a:r>
              <a:rPr lang="en-US" altLang="zh-CN" sz="1000" b="1" dirty="0"/>
              <a:t>– Page 9</a:t>
            </a:r>
            <a:endParaRPr lang="en-US" altLang="zh-CN" sz="1000" b="1" dirty="0"/>
          </a:p>
          <a:p>
            <a:r>
              <a:rPr lang="en-US" altLang="zh-CN" sz="1000" dirty="0"/>
              <a:t>Average weekly active users &amp; average daily active users  </a:t>
            </a:r>
            <a:r>
              <a:rPr lang="en-US" altLang="zh-CN" sz="1000" b="1" dirty="0"/>
              <a:t>– Page 10</a:t>
            </a:r>
            <a:endParaRPr lang="en-US" altLang="zh-CN" sz="1000" b="1" dirty="0"/>
          </a:p>
          <a:p>
            <a:r>
              <a:rPr lang="en-US" altLang="zh-CN" sz="1000" dirty="0"/>
              <a:t>Monthly active users since go live </a:t>
            </a:r>
            <a:r>
              <a:rPr lang="en-US" altLang="zh-CN" sz="1000" b="1" dirty="0"/>
              <a:t>– Page 11</a:t>
            </a:r>
            <a:endParaRPr lang="en-US" altLang="zh-CN" sz="1000" b="1" dirty="0"/>
          </a:p>
          <a:p>
            <a:r>
              <a:rPr lang="en-US" altLang="zh-CN" b="1" dirty="0"/>
              <a:t>Journeys</a:t>
            </a:r>
            <a:endParaRPr lang="en-US" altLang="zh-CN" b="1" dirty="0"/>
          </a:p>
          <a:p>
            <a:r>
              <a:rPr lang="en-US" altLang="zh-CN" sz="1000" dirty="0"/>
              <a:t>Daily journeys CW08 vs. CW07 </a:t>
            </a:r>
            <a:r>
              <a:rPr lang="en-US" altLang="zh-CN" sz="1000" b="1" dirty="0"/>
              <a:t>– Page 12</a:t>
            </a:r>
            <a:endParaRPr lang="en-US" altLang="zh-CN" sz="1000" b="1" dirty="0"/>
          </a:p>
          <a:p>
            <a:r>
              <a:rPr lang="en-US" altLang="zh-CN" sz="1000" dirty="0"/>
              <a:t>Weekly journeys since go live </a:t>
            </a:r>
            <a:r>
              <a:rPr lang="en-US" altLang="zh-CN" sz="1000" b="1" dirty="0"/>
              <a:t>– Page 13</a:t>
            </a:r>
            <a:endParaRPr lang="en-US" altLang="zh-CN" sz="1000" b="1" dirty="0"/>
          </a:p>
          <a:p>
            <a:r>
              <a:rPr lang="en-US" altLang="zh-CN" sz="1000" dirty="0"/>
              <a:t>Average weekly journeys &amp; average daily journeys</a:t>
            </a:r>
            <a:r>
              <a:rPr lang="en-US" altLang="zh-CN" sz="1000" b="1" dirty="0"/>
              <a:t>– Page 14</a:t>
            </a:r>
            <a:endParaRPr lang="en-US" altLang="zh-CN" sz="1000" b="1" dirty="0"/>
          </a:p>
          <a:p>
            <a:r>
              <a:rPr lang="en-US" altLang="zh-CN" sz="1000" dirty="0"/>
              <a:t>Monthly journeys since go live </a:t>
            </a:r>
            <a:r>
              <a:rPr lang="en-US" altLang="zh-CN" sz="1000" b="1" dirty="0"/>
              <a:t>– Page 15</a:t>
            </a:r>
            <a:endParaRPr lang="en-US" altLang="zh-CN" sz="1000" b="1" dirty="0"/>
          </a:p>
          <a:p>
            <a:pPr lvl="0"/>
            <a:r>
              <a:rPr lang="en-US" altLang="zh-CN" b="1" dirty="0"/>
              <a:t>Running Time</a:t>
            </a:r>
            <a:endParaRPr lang="en-US" altLang="zh-CN" b="1" dirty="0"/>
          </a:p>
          <a:p>
            <a:pPr lvl="0"/>
            <a:r>
              <a:rPr lang="en-US" altLang="zh-CN" sz="1000" dirty="0"/>
              <a:t>Daily running time CW08 vs. CW07 – </a:t>
            </a:r>
            <a:r>
              <a:rPr lang="en-US" altLang="zh-CN" sz="1000" b="1" dirty="0"/>
              <a:t>Page 16</a:t>
            </a:r>
            <a:endParaRPr lang="en-US" altLang="zh-CN" sz="1000" b="1" dirty="0"/>
          </a:p>
          <a:p>
            <a:pPr lvl="0"/>
            <a:r>
              <a:rPr lang="en-US" altLang="zh-CN" sz="1000" dirty="0"/>
              <a:t>Weekly running time since go live – </a:t>
            </a:r>
            <a:r>
              <a:rPr lang="en-US" altLang="zh-CN" sz="1000" b="1" dirty="0"/>
              <a:t>Page 17</a:t>
            </a:r>
            <a:endParaRPr lang="en-US" altLang="zh-CN" sz="1000" b="1" dirty="0"/>
          </a:p>
          <a:p>
            <a:pPr lvl="0"/>
            <a:r>
              <a:rPr lang="en-US" altLang="zh-CN" sz="1000" dirty="0"/>
              <a:t>Average weekly running time &amp; average daily running time– </a:t>
            </a:r>
            <a:r>
              <a:rPr lang="en-US" altLang="zh-CN" sz="1000" b="1" dirty="0"/>
              <a:t>Page 18</a:t>
            </a:r>
            <a:endParaRPr lang="en-US" altLang="zh-CN" sz="1000" b="1" dirty="0"/>
          </a:p>
          <a:p>
            <a:pPr lvl="0"/>
            <a:r>
              <a:rPr lang="en-US" altLang="zh-CN" sz="1000" dirty="0"/>
              <a:t>Monthly running time since go live – </a:t>
            </a:r>
            <a:r>
              <a:rPr lang="en-US" altLang="zh-CN" sz="1000" b="1" dirty="0"/>
              <a:t>Page 19</a:t>
            </a:r>
            <a:endParaRPr lang="en-US" altLang="zh-CN" sz="1000" b="1" dirty="0"/>
          </a:p>
          <a:p>
            <a:endParaRPr lang="en-US" altLang="zh-CN" sz="1000" b="1" dirty="0"/>
          </a:p>
          <a:p>
            <a:pPr marL="0" indent="0">
              <a:buNone/>
            </a:pPr>
            <a:endParaRPr lang="en-US" altLang="zh-CN" sz="1200" dirty="0"/>
          </a:p>
          <a:p>
            <a:endParaRPr lang="en-US" sz="800" dirty="0"/>
          </a:p>
        </p:txBody>
      </p:sp>
      <p:sp>
        <p:nvSpPr>
          <p:cNvPr id="7" name="Content Placeholder 5"/>
          <p:cNvSpPr txBox="1"/>
          <p:nvPr/>
        </p:nvSpPr>
        <p:spPr bwMode="gray">
          <a:xfrm>
            <a:off x="6410324" y="990600"/>
            <a:ext cx="5400676" cy="5181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b="1" dirty="0"/>
              <a:t>User Activities</a:t>
            </a:r>
            <a:endParaRPr lang="en-US" altLang="zh-CN" b="1" dirty="0"/>
          </a:p>
          <a:p>
            <a:r>
              <a:rPr lang="en-US" altLang="zh-CN" sz="1000" dirty="0"/>
              <a:t>User activities CW08 vs. CW07 </a:t>
            </a:r>
            <a:r>
              <a:rPr lang="en-US" altLang="zh-CN" sz="1000" b="1" dirty="0"/>
              <a:t>– Page 20</a:t>
            </a:r>
            <a:endParaRPr lang="en-US" altLang="zh-CN" sz="1000" b="1" dirty="0"/>
          </a:p>
          <a:p>
            <a:r>
              <a:rPr lang="en-US" altLang="zh-CN" sz="1000" dirty="0"/>
              <a:t>Weekly user activities since go live </a:t>
            </a:r>
            <a:r>
              <a:rPr lang="en-US" altLang="zh-CN" sz="1000" b="1" dirty="0"/>
              <a:t>– Page 21</a:t>
            </a:r>
            <a:endParaRPr lang="en-US" altLang="zh-CN" sz="1000" b="1" dirty="0"/>
          </a:p>
          <a:p>
            <a:r>
              <a:rPr lang="en-US" altLang="zh-CN" sz="1000" dirty="0"/>
              <a:t>Average weekly user activities  &amp; average daily user activities </a:t>
            </a:r>
            <a:r>
              <a:rPr lang="en-US" altLang="zh-CN" sz="1000" b="1" dirty="0"/>
              <a:t>– Page 22</a:t>
            </a:r>
            <a:endParaRPr lang="en-US" altLang="zh-CN" sz="1000" b="1" dirty="0"/>
          </a:p>
          <a:p>
            <a:r>
              <a:rPr lang="en-US" altLang="zh-CN" sz="1000" dirty="0"/>
              <a:t>Monthly user activities since go live </a:t>
            </a:r>
            <a:r>
              <a:rPr lang="en-US" altLang="zh-CN" sz="1000" b="1" dirty="0"/>
              <a:t>– Page 23</a:t>
            </a:r>
            <a:endParaRPr lang="en-US" altLang="zh-CN" sz="1000" b="1" dirty="0"/>
          </a:p>
          <a:p>
            <a:r>
              <a:rPr lang="en-US" altLang="zh-CN" b="1" dirty="0"/>
              <a:t>User Preferred Charging Destination</a:t>
            </a:r>
            <a:endParaRPr lang="en-US" altLang="zh-CN" b="1" dirty="0"/>
          </a:p>
          <a:p>
            <a:r>
              <a:rPr lang="en-US" altLang="zh-CN" sz="1000" dirty="0"/>
              <a:t>User preferred charging destination analysis CW08 vs. CW07 –</a:t>
            </a:r>
            <a:r>
              <a:rPr lang="en-US" altLang="zh-CN" sz="1000" b="1" dirty="0"/>
              <a:t> Page 24</a:t>
            </a:r>
            <a:endParaRPr lang="en-US" altLang="zh-CN" sz="1000" b="1" dirty="0"/>
          </a:p>
          <a:p>
            <a:r>
              <a:rPr lang="en-US" altLang="zh-CN" sz="1000" dirty="0"/>
              <a:t>Weekly user preferred charging destination since go live </a:t>
            </a:r>
            <a:r>
              <a:rPr lang="en-US" altLang="zh-CN" sz="1000" b="1" dirty="0"/>
              <a:t>– Page 25</a:t>
            </a:r>
            <a:endParaRPr lang="en-US" altLang="zh-CN" sz="1000" b="1" dirty="0"/>
          </a:p>
          <a:p>
            <a:r>
              <a:rPr lang="en-US" altLang="zh-CN" sz="1000" dirty="0"/>
              <a:t>Average weekly selected times &amp; average daily selected times</a:t>
            </a:r>
            <a:r>
              <a:rPr lang="en-US" altLang="zh-CN" sz="1000" b="1" dirty="0"/>
              <a:t>– Page 26</a:t>
            </a:r>
            <a:endParaRPr lang="en-US" altLang="zh-CN" sz="1000" b="1" dirty="0"/>
          </a:p>
          <a:p>
            <a:r>
              <a:rPr lang="en-US" altLang="zh-CN" sz="1000" dirty="0"/>
              <a:t>Monthly user preferred charging destination since go live</a:t>
            </a:r>
            <a:r>
              <a:rPr lang="en-US" altLang="zh-CN" sz="1000" b="1" dirty="0"/>
              <a:t>– Page 27</a:t>
            </a:r>
            <a:endParaRPr lang="en-US" altLang="zh-CN" sz="1000" b="1" dirty="0"/>
          </a:p>
          <a:p>
            <a:r>
              <a:rPr lang="en-US" altLang="zh-CN" b="1" dirty="0"/>
              <a:t>Recommended Times</a:t>
            </a:r>
            <a:endParaRPr lang="en-US" altLang="zh-CN" b="1" dirty="0"/>
          </a:p>
          <a:p>
            <a:r>
              <a:rPr lang="en-US" altLang="zh-CN" sz="1000" dirty="0"/>
              <a:t>Daily recommended times CW08 vs. CW07 </a:t>
            </a:r>
            <a:r>
              <a:rPr lang="en-US" altLang="zh-CN" sz="1000" b="1" dirty="0"/>
              <a:t>– Page 28</a:t>
            </a:r>
            <a:endParaRPr lang="en-US" altLang="zh-CN" sz="1000" b="1" dirty="0"/>
          </a:p>
          <a:p>
            <a:r>
              <a:rPr lang="en-US" altLang="zh-CN" sz="1000" dirty="0"/>
              <a:t>Weekly recommended times since go live </a:t>
            </a:r>
            <a:r>
              <a:rPr lang="en-US" altLang="zh-CN" sz="1000" b="1" dirty="0"/>
              <a:t>– Page 29</a:t>
            </a:r>
            <a:endParaRPr lang="en-US" altLang="zh-CN" sz="1000" b="1" dirty="0"/>
          </a:p>
          <a:p>
            <a:r>
              <a:rPr lang="en-US" altLang="zh-CN" sz="1000" dirty="0"/>
              <a:t>Average weekly recommended times &amp; average daily recommended times</a:t>
            </a:r>
            <a:r>
              <a:rPr lang="en-US" altLang="zh-CN" sz="1000" b="1" dirty="0"/>
              <a:t>– Page 30</a:t>
            </a:r>
            <a:endParaRPr lang="en-US" altLang="zh-CN" sz="1000" b="1" dirty="0"/>
          </a:p>
          <a:p>
            <a:r>
              <a:rPr lang="en-US" altLang="zh-CN" sz="1000" dirty="0"/>
              <a:t>Monthly recommended times since go live </a:t>
            </a:r>
            <a:r>
              <a:rPr lang="en-US" altLang="zh-CN" sz="1000" b="1" dirty="0"/>
              <a:t>– Page 31</a:t>
            </a:r>
            <a:endParaRPr lang="en-US" altLang="zh-CN" sz="1000" b="1" dirty="0"/>
          </a:p>
          <a:p>
            <a:r>
              <a:rPr lang="en-US" altLang="zh-CN" b="1" dirty="0"/>
              <a:t>IT Operation</a:t>
            </a:r>
            <a:endParaRPr lang="en-US" altLang="zh-CN" b="1" dirty="0"/>
          </a:p>
          <a:p>
            <a:r>
              <a:rPr lang="en-US" altLang="zh-CN" sz="1000" dirty="0"/>
              <a:t>Tickets/requests report of CW08</a:t>
            </a:r>
            <a:r>
              <a:rPr lang="en-US" altLang="zh-CN" sz="1000" b="1" dirty="0"/>
              <a:t>– Page 32</a:t>
            </a:r>
            <a:endParaRPr lang="en-US" altLang="zh-CN" sz="1000" b="1" dirty="0"/>
          </a:p>
          <a:p>
            <a:r>
              <a:rPr lang="en-US" altLang="zh-CN" sz="1000" dirty="0"/>
              <a:t>Log &amp; alert review report of CW08</a:t>
            </a:r>
            <a:r>
              <a:rPr lang="en-US" altLang="zh-CN" sz="1000" b="1" dirty="0"/>
              <a:t>-Page 33</a:t>
            </a:r>
            <a:endParaRPr lang="en-US" altLang="zh-CN" sz="1000" b="1" dirty="0"/>
          </a:p>
          <a:p>
            <a:r>
              <a:rPr lang="en-US" altLang="zh-CN" sz="1000" dirty="0"/>
              <a:t>SLA report of CW08</a:t>
            </a:r>
            <a:r>
              <a:rPr lang="en-US" altLang="zh-CN" sz="1000" b="1" dirty="0"/>
              <a:t>-Page 34</a:t>
            </a:r>
            <a:endParaRPr lang="en-US" altLang="zh-CN" sz="1000" b="1" dirty="0"/>
          </a:p>
          <a:p>
            <a:endParaRPr lang="en-US" altLang="zh-CN" sz="1000" b="1" dirty="0"/>
          </a:p>
          <a:p>
            <a:endParaRPr lang="en-US" sz="1200" dirty="0"/>
          </a:p>
          <a:p>
            <a:endParaRPr lang="en-US" sz="800" dirty="0"/>
          </a:p>
        </p:txBody>
      </p:sp>
    </p:spTree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88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ser activities CW08 vs. CW07</a:t>
            </a:r>
            <a:endParaRPr lang="en-US" dirty="0"/>
          </a:p>
        </p:txBody>
      </p:sp>
      <p:sp>
        <p:nvSpPr>
          <p:cNvPr id="9" name="TextBox 5"/>
          <p:cNvSpPr txBox="1"/>
          <p:nvPr/>
        </p:nvSpPr>
        <p:spPr>
          <a:xfrm>
            <a:off x="695325" y="990600"/>
            <a:ext cx="9783127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discover more: the total times that users have clicked “Discover More” button to see Audi Models detail information on Audi.c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contact: the total times that users have clicked 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“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” 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button to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ask for help from operations team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request test drive: the total times that users have clicked “Request a test drive” button to apply for a test drive on Audi.c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6" name="Chart 7"/>
          <p:cNvGraphicFramePr/>
          <p:nvPr/>
        </p:nvGraphicFramePr>
        <p:xfrm>
          <a:off x="882650" y="2132964"/>
          <a:ext cx="530542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5433060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4" name="Chart 7"/>
          <p:cNvGraphicFramePr/>
          <p:nvPr/>
        </p:nvGraphicFramePr>
        <p:xfrm>
          <a:off x="6443345" y="2133599"/>
          <a:ext cx="530542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TextBox 9"/>
          <p:cNvSpPr txBox="1"/>
          <p:nvPr/>
        </p:nvSpPr>
        <p:spPr>
          <a:xfrm>
            <a:off x="10895965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04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user activities since go liv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390391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iscover more: the total times that users have clicked "Discover More" button to see Audi Models detail information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: the total times that users have clicked "Contact" button to ask for help from operations team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Request test drive: the total times that users have clicked "Request a test drive" button to apply for a test drive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9" name="Chart 7"/>
          <p:cNvGraphicFramePr/>
          <p:nvPr/>
        </p:nvGraphicFramePr>
        <p:xfrm>
          <a:off x="696913" y="2133600"/>
          <a:ext cx="10884766" cy="43434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2133599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68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user activities &amp; average daily user activities 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706755" y="2133600"/>
          <a:ext cx="54102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9811981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user activities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user activiti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times of user activities </a:t>
            </a:r>
            <a:r>
              <a:rPr lang="en-US" altLang="zh-CN" sz="1400" kern="0" dirty="0"/>
              <a:t>from go live till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user activitie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user activities</a:t>
            </a:r>
            <a:r>
              <a:rPr lang="en-US" altLang="zh-CN" sz="1400" kern="0" dirty="0"/>
              <a:t>: e.g. the average daily  user activities of  CW21= total</a:t>
            </a:r>
            <a:r>
              <a:rPr lang="en-US" altLang="zh-CN" sz="1400" dirty="0"/>
              <a:t> times of user activitie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63665" y="2133600"/>
          <a:ext cx="54102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749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user activities since go liv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06870" y="1015336"/>
            <a:ext cx="9374361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iscover more: the total times that users have clicked "Discover More" button to see Audi Models detail information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: the total times that users have clicked "Contact" button to ask for help from operations team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Request test drive: the total times that users have clicked "Request a test drive" button to apply for a test drive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7" name="图表 6"/>
          <p:cNvGraphicFramePr/>
          <p:nvPr/>
        </p:nvGraphicFramePr>
        <p:xfrm>
          <a:off x="695325" y="2143664"/>
          <a:ext cx="7543800" cy="35475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8" name="Object 15"/>
          <p:cNvGraphicFramePr>
            <a:graphicFrameLocks noGrp="1"/>
          </p:cNvGraphicFramePr>
          <p:nvPr>
            <p:ph sz="quarter" idx="13"/>
          </p:nvPr>
        </p:nvGraphicFramePr>
        <p:xfrm>
          <a:off x="8382000" y="2148558"/>
          <a:ext cx="3276600" cy="35426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767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68299"/>
            <a:ext cx="11341099" cy="612429"/>
          </a:xfrm>
        </p:spPr>
        <p:txBody>
          <a:bodyPr/>
          <a:lstStyle/>
          <a:p>
            <a:r>
              <a:rPr lang="en-US" dirty="0"/>
              <a:t>User preferred charging destination analysis CW</a:t>
            </a:r>
            <a:r>
              <a:rPr lang="en-US" altLang="zh-CN" dirty="0"/>
              <a:t>08</a:t>
            </a:r>
            <a:r>
              <a:rPr lang="en-US" dirty="0"/>
              <a:t> vs. CW</a:t>
            </a:r>
            <a:r>
              <a:rPr lang="en-US" altLang="zh-CN" dirty="0"/>
              <a:t>07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469900" y="1295400"/>
            <a:ext cx="113411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pie chart shows the percentage of times that users have selected following types of nearby activities to filter charging station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e.g. The percentage of food equals to times that users selected food from in CW26/times that users selected all following types in CW26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sp>
        <p:nvSpPr>
          <p:cNvPr id="13" name="TextBox 1"/>
          <p:cNvSpPr txBox="1"/>
          <p:nvPr/>
        </p:nvSpPr>
        <p:spPr>
          <a:xfrm>
            <a:off x="1447800" y="3428999"/>
            <a:ext cx="34143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08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876540" y="3428999"/>
            <a:ext cx="34143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07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794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user preferred charging destination analysis since go live</a:t>
            </a:r>
            <a:endParaRPr lang="en-US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5325" y="1447800"/>
          <a:ext cx="9665566" cy="4953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525000" y="15240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77850" y="962680"/>
            <a:ext cx="113411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</a:t>
            </a:r>
            <a:r>
              <a:rPr lang="en-US" altLang="zh-CN" sz="1400" dirty="0">
                <a:solidFill>
                  <a:srgbClr val="000000"/>
                </a:solidFill>
                <a:latin typeface="Audi Type"/>
              </a:rPr>
              <a:t>bar char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shows the times that users have selected following types of nearby activities </a:t>
            </a:r>
            <a:r>
              <a:rPr lang="en-US" sz="1400" noProof="0" dirty="0">
                <a:solidFill>
                  <a:srgbClr val="000000"/>
                </a:solidFill>
                <a:latin typeface="Audi Type"/>
              </a:rPr>
              <a:t>when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filtering</a:t>
            </a:r>
            <a:r>
              <a:rPr kumimoji="0" lang="en-US" sz="14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harging station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</p:spTree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817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selected times &amp; average daily selected times</a:t>
            </a:r>
            <a:endParaRPr lang="en-US" dirty="0">
              <a:solidFill>
                <a:srgbClr val="FF0000"/>
              </a:solidFill>
            </a:endParaRPr>
          </a:p>
        </p:txBody>
      </p:sp>
      <p:graphicFrame>
        <p:nvGraphicFramePr>
          <p:cNvPr id="8" name="Chart 7"/>
          <p:cNvGraphicFramePr/>
          <p:nvPr/>
        </p:nvGraphicFramePr>
        <p:xfrm>
          <a:off x="685800" y="2149642"/>
          <a:ext cx="5410200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10" name="Chart 7"/>
          <p:cNvGraphicFramePr/>
          <p:nvPr/>
        </p:nvGraphicFramePr>
        <p:xfrm>
          <a:off x="6400800" y="2133600"/>
          <a:ext cx="5410200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706870" y="1015336"/>
            <a:ext cx="9262151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from go live till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of  CW21= total</a:t>
            </a:r>
            <a:r>
              <a:rPr lang="en-US" altLang="zh-CN" sz="1400" dirty="0"/>
              <a:t> selected time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sp>
        <p:nvSpPr>
          <p:cNvPr id="11" name="TextBox 10"/>
          <p:cNvSpPr txBox="1"/>
          <p:nvPr/>
        </p:nvSpPr>
        <p:spPr>
          <a:xfrm>
            <a:off x="5264785" y="2157217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0972800" y="2149642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835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thly user preferred charging destination analysis since go live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609600" y="1315546"/>
            <a:ext cx="113411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pie chart shows the percentage of times that users have selected following types of nearby activities to filter charging station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e.g. The percentage of food equals to times that users selected food from beginning of this month /times that users selected all following types from beginning of this month.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9" name="图表 8"/>
          <p:cNvGraphicFramePr/>
          <p:nvPr/>
        </p:nvGraphicFramePr>
        <p:xfrm>
          <a:off x="6245087" y="2527762"/>
          <a:ext cx="5250815" cy="3949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0751449" y="250211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1447800" y="3428999"/>
            <a:ext cx="34143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Feb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.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42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ily recommended times CW08 vs. CW</a:t>
            </a:r>
            <a:r>
              <a:rPr lang="en-US" altLang="zh-CN" dirty="0"/>
              <a:t>07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14375" y="1019175"/>
            <a:ext cx="8032584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</a:t>
            </a:r>
            <a:r>
              <a:rPr lang="en-US" altLang="zh-CN" sz="1400" noProof="0" dirty="0"/>
              <a:t>recommended times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recommended to users per day.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endParaRPr kumimoji="0" lang="en-US" sz="140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1390650" y="3683756"/>
            <a:ext cx="30841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lang="en-US" altLang="zh-CN" sz="1400" kern="0" baseline="0" dirty="0"/>
              <a:t>08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4" name="TextBox 1"/>
          <p:cNvSpPr txBox="1"/>
          <p:nvPr/>
        </p:nvSpPr>
        <p:spPr>
          <a:xfrm>
            <a:off x="7740650" y="3683756"/>
            <a:ext cx="30841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lang="en-US" altLang="zh-CN" sz="1400" kern="0" baseline="0" dirty="0"/>
              <a:t>07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584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recommended times 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8200899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</a:t>
            </a:r>
            <a:r>
              <a:rPr lang="en-US" altLang="zh-CN" sz="1400" dirty="0"/>
              <a:t>recommended times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commended to users per week.</a:t>
            </a:r>
            <a:endParaRPr lang="en-US" altLang="zh-CN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302386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30259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33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04800"/>
            <a:ext cx="11341099" cy="612429"/>
          </a:xfrm>
        </p:spPr>
        <p:txBody>
          <a:bodyPr/>
          <a:lstStyle/>
          <a:p>
            <a:r>
              <a:rPr lang="en-US" dirty="0"/>
              <a:t>Data summary</a:t>
            </a:r>
            <a:br>
              <a:rPr lang="en-US" dirty="0"/>
            </a:br>
            <a:br>
              <a:rPr lang="en-US" sz="1200" dirty="0">
                <a:solidFill>
                  <a:srgbClr val="FF0000"/>
                </a:solidFill>
              </a:rPr>
            </a:br>
            <a:endParaRPr lang="en-US" dirty="0">
              <a:solidFill>
                <a:srgbClr val="FF0000"/>
              </a:solidFill>
            </a:endParaRPr>
          </a:p>
        </p:txBody>
      </p:sp>
      <p:graphicFrame>
        <p:nvGraphicFramePr>
          <p:cNvPr id="2" name="表格 1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695325" y="634662"/>
          <a:ext cx="10896600" cy="58828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6308"/>
                <a:gridCol w="1570367"/>
                <a:gridCol w="1571625"/>
                <a:gridCol w="1816100"/>
                <a:gridCol w="1816100"/>
                <a:gridCol w="1816100"/>
              </a:tblGrid>
              <a:tr h="628853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Item</a:t>
                      </a:r>
                      <a:endParaRPr lang="zh-CN" alt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CW08</a:t>
                      </a:r>
                      <a:endParaRPr lang="en-US" altLang="zh-CN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CW07</a:t>
                      </a:r>
                      <a:endParaRPr lang="en-US" altLang="zh-CN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Growth %</a:t>
                      </a:r>
                      <a:endParaRPr lang="en-US" altLang="zh-CN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YTD total</a:t>
                      </a:r>
                      <a:endParaRPr lang="en-US" altLang="zh-CN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YTD 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w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eekly average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(CW1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5, 2019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-CW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08,2020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)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App 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Download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4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8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-22.22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243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7.02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Active user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user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4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5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-4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367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9.72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Journey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47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7.54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unning Tim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minute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5.2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.2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2.5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574.7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2.49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ood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24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Shopping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9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20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un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13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Beauty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7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itness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Discover Mor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-66.67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2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.98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Contact Audi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-10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0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.17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equest Test Driv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-10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22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.65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ecommendation time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9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.50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57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Incident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5730"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560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recommended times &amp; average daily recommended times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695325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11219225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 recommended times 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from go live till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of  CW21= total</a:t>
            </a:r>
            <a:r>
              <a:rPr lang="en-US" altLang="zh-CN" sz="1400" dirty="0"/>
              <a:t> recommended time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18622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340985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1067487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605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recommended time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8402878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commended to users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3963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624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5800" y="295621"/>
            <a:ext cx="11341099" cy="612429"/>
          </a:xfrm>
        </p:spPr>
        <p:txBody>
          <a:bodyPr/>
          <a:lstStyle/>
          <a:p>
            <a:r>
              <a:rPr lang="en-US" altLang="zh-CN" dirty="0"/>
              <a:t>Tickets/requests report of CW08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685800" y="1464205"/>
          <a:ext cx="10744200" cy="332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0200"/>
                <a:gridCol w="1828800"/>
                <a:gridCol w="2362200"/>
                <a:gridCol w="2286000"/>
                <a:gridCol w="2667000"/>
              </a:tblGrid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ickets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   Volume</a:t>
                      </a:r>
                      <a:r>
                        <a:rPr lang="en-US" baseline="0" dirty="0"/>
                        <a:t> 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sponse Time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storation Time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ncident</a:t>
                      </a:r>
                      <a:r>
                        <a:rPr lang="en-US" baseline="0" dirty="0"/>
                        <a:t> Description</a:t>
                      </a:r>
                      <a:endParaRPr lang="en-US" dirty="0"/>
                    </a:p>
                  </a:txBody>
                  <a:tcPr anchor="ctr"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1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2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3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4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635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图片 98634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Log &amp; alert review report of CW08</a:t>
            </a:r>
            <a:br>
              <a:rPr lang="en-US" altLang="zh-CN" dirty="0"/>
            </a:br>
            <a:br>
              <a:rPr lang="zh-CN" altLang="zh-CN" dirty="0"/>
            </a:br>
            <a:endParaRPr lang="zh-CN" altLang="en-US" dirty="0"/>
          </a:p>
        </p:txBody>
      </p:sp>
      <p:graphicFrame>
        <p:nvGraphicFramePr>
          <p:cNvPr id="6" name="内容占位符 3"/>
          <p:cNvGraphicFramePr>
            <a:graphicFrameLocks noGrp="1"/>
          </p:cNvGraphicFramePr>
          <p:nvPr>
            <p:ph sz="quarter" idx="13"/>
            <p:custDataLst>
              <p:tags r:id="rId5"/>
            </p:custDataLst>
          </p:nvPr>
        </p:nvGraphicFramePr>
        <p:xfrm>
          <a:off x="695325" y="1447800"/>
          <a:ext cx="11164889" cy="16002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14888"/>
                <a:gridCol w="1976423"/>
                <a:gridCol w="1520325"/>
                <a:gridCol w="1520325"/>
                <a:gridCol w="1976423"/>
                <a:gridCol w="1292276"/>
                <a:gridCol w="1064229"/>
              </a:tblGrid>
              <a:tr h="7205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Rule Nam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Generated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Resource Typ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bnormal Resourc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Policy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Severity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charset="-122"/>
                        </a:rPr>
                        <a:t>Alarm Status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879675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he</a:t>
                      </a:r>
                      <a:r>
                        <a:rPr lang="en-US" altLang="zh-C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 is no alert</a:t>
                      </a:r>
                      <a:r>
                        <a:rPr lang="en-US" altLang="zh-CN" sz="1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happened in CW08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65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graphicFrame>
        <p:nvGraphicFramePr>
          <p:cNvPr id="4" name="内容占位符 3"/>
          <p:cNvGraphicFramePr>
            <a:graphicFrameLocks noGrp="1"/>
          </p:cNvGraphicFramePr>
          <p:nvPr>
            <p:ph sz="quarter" idx="13"/>
            <p:custDataLst>
              <p:tags r:id="rId5"/>
            </p:custDataLst>
          </p:nvPr>
        </p:nvGraphicFramePr>
        <p:xfrm>
          <a:off x="695325" y="1481139"/>
          <a:ext cx="11075987" cy="415765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95633"/>
                <a:gridCol w="2595633"/>
                <a:gridCol w="2072098"/>
                <a:gridCol w="2072098"/>
                <a:gridCol w="1740525"/>
              </a:tblGrid>
              <a:tr h="700259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Item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xpected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ervice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charset="-122"/>
                        </a:rPr>
                        <a:t>Minimum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charset="-122"/>
                        </a:rPr>
                        <a:t> Service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ctual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Service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9148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Relevant Application SLA</a:t>
                      </a:r>
                      <a:endParaRPr lang="en-US" sz="1200" b="1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Availability of Go e-</a:t>
                      </a:r>
                      <a:r>
                        <a:rPr lang="en-US" sz="120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tron</a:t>
                      </a: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Service</a:t>
                      </a:r>
                      <a:endParaRPr lang="en-US" sz="120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2%</a:t>
                      </a:r>
                      <a:endParaRPr lang="en-US" sz="120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691480">
                <a:tc rowSpan="4"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1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Infrastructure Systems SLA</a:t>
                      </a:r>
                      <a:endParaRPr lang="en-US" sz="1200" b="1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Cloud Server (ECS)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1480">
                <a:tc vMerge="1"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IP (EIP)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1480">
                <a:tc vMerge="1"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Load Balance (ELB)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1480">
                <a:tc vMerge="1"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Relational Database Service (RDS) 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LA report of CW08</a:t>
            </a:r>
            <a:br>
              <a:rPr lang="zh-CN" altLang="zh-CN" dirty="0"/>
            </a:br>
            <a:endParaRPr lang="zh-CN" altLang="en-US" dirty="0"/>
          </a:p>
        </p:txBody>
      </p:sp>
    </p:spTree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722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5800" y="295621"/>
            <a:ext cx="11341099" cy="612429"/>
          </a:xfrm>
        </p:spPr>
        <p:txBody>
          <a:bodyPr/>
          <a:lstStyle/>
          <a:p>
            <a:r>
              <a:rPr lang="en-US" altLang="zh-CN" dirty="0"/>
              <a:t>Daily downloads CW08 vs. CW07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2544" y="914400"/>
            <a:ext cx="978473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Daily downloads: the number of times that the app was downloaded from App Store(iOS) /Huawei market(Android)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/Baidu market(Android) per day.</a:t>
            </a:r>
            <a:endParaRPr lang="en-US" altLang="zh-CN" sz="1400" kern="0" dirty="0"/>
          </a:p>
        </p:txBody>
      </p:sp>
      <p:graphicFrame>
        <p:nvGraphicFramePr>
          <p:cNvPr id="4" name="图表 3"/>
          <p:cNvGraphicFramePr/>
          <p:nvPr/>
        </p:nvGraphicFramePr>
        <p:xfrm>
          <a:off x="899478" y="1642110"/>
          <a:ext cx="5294312" cy="35731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7" name="Table 8"/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888365" y="5648131"/>
          <a:ext cx="5305689" cy="684132"/>
        </p:xfrm>
        <a:graphic>
          <a:graphicData uri="http://schemas.openxmlformats.org/drawingml/2006/table">
            <a:tbl>
              <a:tblPr/>
              <a:tblGrid>
                <a:gridCol w="1471709"/>
                <a:gridCol w="1417724"/>
                <a:gridCol w="1343106"/>
                <a:gridCol w="1073150"/>
              </a:tblGrid>
              <a:tr h="444500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8</a:t>
                      </a: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otal 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App Store(iOS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8 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tal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Huawei(Android）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W08 total downloads of Baidu(Android）</a:t>
                      </a:r>
                      <a:endParaRPr lang="en-US" altLang="zh-CN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8 Total download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9632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" name="图表 7"/>
          <p:cNvGraphicFramePr/>
          <p:nvPr/>
        </p:nvGraphicFramePr>
        <p:xfrm>
          <a:off x="6441123" y="1642745"/>
          <a:ext cx="5294312" cy="35731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Table 8"/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6430010" y="5648131"/>
          <a:ext cx="5305689" cy="684132"/>
        </p:xfrm>
        <a:graphic>
          <a:graphicData uri="http://schemas.openxmlformats.org/drawingml/2006/table">
            <a:tbl>
              <a:tblPr/>
              <a:tblGrid>
                <a:gridCol w="1471709"/>
                <a:gridCol w="1417724"/>
                <a:gridCol w="1343106"/>
                <a:gridCol w="1073150"/>
              </a:tblGrid>
              <a:tr h="444500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7</a:t>
                      </a: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otal 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App Store(iOS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7 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tal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Huawei(Android）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W07 total downloads of Baidu(Android）</a:t>
                      </a:r>
                      <a:endParaRPr lang="en-US" altLang="zh-CN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7 Total download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9632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498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download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914400"/>
            <a:ext cx="9874498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downloads: the number of times that the app was downloaded from App Store(iOS) /Huawei market(Android)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 /Baidu market(Android) per week.</a:t>
            </a:r>
            <a:endParaRPr lang="en-US" altLang="zh-CN" sz="1400" kern="0" dirty="0"/>
          </a:p>
        </p:txBody>
      </p:sp>
      <p:sp>
        <p:nvSpPr>
          <p:cNvPr id="10" name="TextBox 5"/>
          <p:cNvSpPr txBox="1"/>
          <p:nvPr/>
        </p:nvSpPr>
        <p:spPr>
          <a:xfrm>
            <a:off x="9684385" y="14478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12" name="Table 8"/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685800" y="5986675"/>
          <a:ext cx="5715000" cy="561340"/>
        </p:xfrm>
        <a:graphic>
          <a:graphicData uri="http://schemas.openxmlformats.org/drawingml/2006/table">
            <a:tbl>
              <a:tblPr/>
              <a:tblGrid>
                <a:gridCol w="1585324"/>
                <a:gridCol w="1527171"/>
                <a:gridCol w="1446794"/>
                <a:gridCol w="1155711"/>
              </a:tblGrid>
              <a:tr h="341630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 App Store(iOS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 Huawei(Android）</a:t>
                      </a:r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Baidu(Android）</a:t>
                      </a:r>
                      <a:endParaRPr lang="en-US" altLang="zh-CN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</a:t>
                      </a:r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1971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7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1</a:t>
                      </a:r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" name="Chart 7"/>
          <p:cNvGraphicFramePr/>
          <p:nvPr/>
        </p:nvGraphicFramePr>
        <p:xfrm>
          <a:off x="685800" y="1481138"/>
          <a:ext cx="9741766" cy="43433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476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downloads &amp; average daily downloads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10570730" cy="7109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downloads </a:t>
            </a:r>
            <a:r>
              <a:rPr lang="en-US" altLang="zh-CN" sz="1400" kern="0" dirty="0"/>
              <a:t>: the average weekly downloads equals to total downloads from go live till end of this week/number of weeks;  e.g. the average weekly download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downloads </a:t>
            </a:r>
            <a:r>
              <a:rPr lang="en-US" altLang="zh-CN" sz="1400" kern="0" dirty="0"/>
              <a:t>: e.g. the average daily downloads of  CW21= total downloads of CW21/7</a:t>
            </a:r>
            <a:endParaRPr lang="en-US" altLang="zh-CN" sz="1400" kern="0" dirty="0"/>
          </a:p>
        </p:txBody>
      </p:sp>
      <p:sp>
        <p:nvSpPr>
          <p:cNvPr id="9" name="TextBox 5"/>
          <p:cNvSpPr txBox="1"/>
          <p:nvPr/>
        </p:nvSpPr>
        <p:spPr>
          <a:xfrm>
            <a:off x="5340985" y="2147977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5" name="TextBox 5"/>
          <p:cNvSpPr txBox="1"/>
          <p:nvPr/>
        </p:nvSpPr>
        <p:spPr>
          <a:xfrm>
            <a:off x="10981054" y="215096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4" name="Chart 7"/>
          <p:cNvGraphicFramePr/>
          <p:nvPr/>
        </p:nvGraphicFramePr>
        <p:xfrm>
          <a:off x="700226" y="2133600"/>
          <a:ext cx="5410200" cy="365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6" name="Chart 7"/>
          <p:cNvGraphicFramePr/>
          <p:nvPr/>
        </p:nvGraphicFramePr>
        <p:xfrm>
          <a:off x="6365874" y="2132965"/>
          <a:ext cx="5370195" cy="3658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16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downloads 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838200"/>
            <a:ext cx="9964266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downloads: the number of times that the app was downloaded from App Store(iOS) /Huawei market(Android)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  /Baidu market(Android) per month.</a:t>
            </a:r>
            <a:endParaRPr lang="en-US" sz="1400" kern="0" dirty="0"/>
          </a:p>
        </p:txBody>
      </p:sp>
      <p:sp>
        <p:nvSpPr>
          <p:cNvPr id="10" name="TextBox 5"/>
          <p:cNvSpPr txBox="1"/>
          <p:nvPr/>
        </p:nvSpPr>
        <p:spPr>
          <a:xfrm>
            <a:off x="9601200" y="147943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4" name="Chart 7"/>
          <p:cNvGraphicFramePr/>
          <p:nvPr/>
        </p:nvGraphicFramePr>
        <p:xfrm>
          <a:off x="706870" y="1447800"/>
          <a:ext cx="9741766" cy="502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62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06870" y="459507"/>
            <a:ext cx="11341099" cy="612429"/>
          </a:xfrm>
        </p:spPr>
        <p:txBody>
          <a:bodyPr/>
          <a:lstStyle/>
          <a:p>
            <a:r>
              <a:rPr lang="en-US" dirty="0"/>
              <a:t>Daily active users </a:t>
            </a:r>
            <a:r>
              <a:rPr lang="en-US" altLang="zh-CN" dirty="0"/>
              <a:t>CW08 vs. CW07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4818627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active</a:t>
            </a:r>
            <a:r>
              <a:rPr lang="en-US" altLang="zh-CN" sz="1400" kern="0" dirty="0"/>
              <a:t> users: the number of users who used the app per day.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8" name="图表 7"/>
          <p:cNvGraphicFramePr/>
          <p:nvPr/>
        </p:nvGraphicFramePr>
        <p:xfrm>
          <a:off x="707056" y="2178848"/>
          <a:ext cx="528435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5092577" y="2178697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4" name="TextBox 11"/>
          <p:cNvSpPr txBox="1"/>
          <p:nvPr/>
        </p:nvSpPr>
        <p:spPr>
          <a:xfrm>
            <a:off x="10646470" y="2178697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4" name="图表 3"/>
          <p:cNvGraphicFramePr/>
          <p:nvPr/>
        </p:nvGraphicFramePr>
        <p:xfrm>
          <a:off x="6328076" y="2178848"/>
          <a:ext cx="528435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72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active users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204951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active users: the number of users who used the app per week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1295401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KSO_WM_UNIT_TABLE_BEAUTIFY" val="smartTable{3fb6a8c9-98bc-45a5-ab00-1b8f423dee36}"/>
</p:tagLst>
</file>

<file path=ppt/tags/tag11.xml><?xml version="1.0" encoding="utf-8"?>
<p:tagLst xmlns:p="http://schemas.openxmlformats.org/presentationml/2006/main">
  <p:tag name="KSO_WM_UNIT_TABLE_BEAUTIFY" val="smartTable{3fb6a8c9-98bc-45a5-ab00-1b8f423dee36}"/>
</p:tagLst>
</file>

<file path=ppt/tags/tag12.xml><?xml version="1.0" encoding="utf-8"?>
<p:tagLst xmlns:p="http://schemas.openxmlformats.org/presentationml/2006/main">
  <p:tag name="THINKCELLSHAPEDONOTDELETE" val="thinkcellActiveDocDoNotDelete"/>
</p:tagLst>
</file>

<file path=ppt/tags/tag13.xml><?xml version="1.0" encoding="utf-8"?>
<p:tagLst xmlns:p="http://schemas.openxmlformats.org/presentationml/2006/main">
  <p:tag name="THINKCELLSHAPEDONOTDELETE" val="tQLENygviQLyBl83JsV6Plg"/>
</p:tagLst>
</file>

<file path=ppt/tags/tag14.xml><?xml version="1.0" encoding="utf-8"?>
<p:tagLst xmlns:p="http://schemas.openxmlformats.org/presentationml/2006/main">
  <p:tag name="KSO_WM_UNIT_TABLE_BEAUTIFY" val="smartTable{9632fa71-2ddb-4159-ae3c-b86f5a842281}"/>
</p:tagLst>
</file>

<file path=ppt/tags/tag15.xml><?xml version="1.0" encoding="utf-8"?>
<p:tagLst xmlns:p="http://schemas.openxmlformats.org/presentationml/2006/main">
  <p:tag name="THINKCELLSHAPEDONOTDELETE" val="thinkcellActiveDocDoNotDelete"/>
</p:tagLst>
</file>

<file path=ppt/tags/tag16.xml><?xml version="1.0" encoding="utf-8"?>
<p:tagLst xmlns:p="http://schemas.openxmlformats.org/presentationml/2006/main">
  <p:tag name="THINKCELLSHAPEDONOTDELETE" val="tQLENygviQLyBl83JsV6Plg"/>
</p:tagLst>
</file>

<file path=ppt/tags/tag17.xml><?xml version="1.0" encoding="utf-8"?>
<p:tagLst xmlns:p="http://schemas.openxmlformats.org/presentationml/2006/main">
  <p:tag name="THINKCELLSHAPEDONOTDELETE" val="thinkcellActiveDocDoNotDelete"/>
</p:tagLst>
</file>

<file path=ppt/tags/tag18.xml><?xml version="1.0" encoding="utf-8"?>
<p:tagLst xmlns:p="http://schemas.openxmlformats.org/presentationml/2006/main">
  <p:tag name="THINKCELLSHAPEDONOTDELETE" val="tQLENygviQLyBl83JsV6Plg"/>
</p:tagLst>
</file>

<file path=ppt/tags/tag19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woLoLql6RUeuYQ4rLl7q1Q"/>
</p:tagLst>
</file>

<file path=ppt/tags/tag20.xml><?xml version="1.0" encoding="utf-8"?>
<p:tagLst xmlns:p="http://schemas.openxmlformats.org/presentationml/2006/main">
  <p:tag name="THINKCELLSHAPEDONOTDELETE" val="tQLENygviQLyBl83JsV6Plg"/>
</p:tagLst>
</file>

<file path=ppt/tags/tag21.xml><?xml version="1.0" encoding="utf-8"?>
<p:tagLst xmlns:p="http://schemas.openxmlformats.org/presentationml/2006/main">
  <p:tag name="THINKCELLSHAPEDONOTDELETE" val="thinkcellActiveDocDoNotDelete"/>
</p:tagLst>
</file>

<file path=ppt/tags/tag22.xml><?xml version="1.0" encoding="utf-8"?>
<p:tagLst xmlns:p="http://schemas.openxmlformats.org/presentationml/2006/main">
  <p:tag name="THINKCELLSHAPEDONOTDELETE" val="tQLENygviQLyBl83JsV6Plg"/>
</p:tagLst>
</file>

<file path=ppt/tags/tag23.xml><?xml version="1.0" encoding="utf-8"?>
<p:tagLst xmlns:p="http://schemas.openxmlformats.org/presentationml/2006/main">
  <p:tag name="THINKCELLSHAPEDONOTDELETE" val="thinkcellActiveDocDoNotDelete"/>
</p:tagLst>
</file>

<file path=ppt/tags/tag24.xml><?xml version="1.0" encoding="utf-8"?>
<p:tagLst xmlns:p="http://schemas.openxmlformats.org/presentationml/2006/main">
  <p:tag name="THINKCELLSHAPEDONOTDELETE" val="tQLENygviQLyBl83JsV6Plg"/>
</p:tagLst>
</file>

<file path=ppt/tags/tag25.xml><?xml version="1.0" encoding="utf-8"?>
<p:tagLst xmlns:p="http://schemas.openxmlformats.org/presentationml/2006/main">
  <p:tag name="THINKCELLSHAPEDONOTDELETE" val="thinkcellActiveDocDoNotDelete"/>
</p:tagLst>
</file>

<file path=ppt/tags/tag26.xml><?xml version="1.0" encoding="utf-8"?>
<p:tagLst xmlns:p="http://schemas.openxmlformats.org/presentationml/2006/main">
  <p:tag name="THINKCELLSHAPEDONOTDELETE" val="tQLENygviQLyBl83JsV6Plg"/>
</p:tagLst>
</file>

<file path=ppt/tags/tag27.xml><?xml version="1.0" encoding="utf-8"?>
<p:tagLst xmlns:p="http://schemas.openxmlformats.org/presentationml/2006/main">
  <p:tag name="THINKCELLSHAPEDONOTDELETE" val="thinkcellActiveDocDoNotDelete"/>
</p:tagLst>
</file>

<file path=ppt/tags/tag28.xml><?xml version="1.0" encoding="utf-8"?>
<p:tagLst xmlns:p="http://schemas.openxmlformats.org/presentationml/2006/main">
  <p:tag name="THINKCELLSHAPEDONOTDELETE" val="tQLENygviQLyBl83JsV6Plg"/>
</p:tagLst>
</file>

<file path=ppt/tags/tag29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30.xml><?xml version="1.0" encoding="utf-8"?>
<p:tagLst xmlns:p="http://schemas.openxmlformats.org/presentationml/2006/main">
  <p:tag name="THINKCELLSHAPEDONOTDELETE" val="tQLENygviQLyBl83JsV6Plg"/>
</p:tagLst>
</file>

<file path=ppt/tags/tag31.xml><?xml version="1.0" encoding="utf-8"?>
<p:tagLst xmlns:p="http://schemas.openxmlformats.org/presentationml/2006/main">
  <p:tag name="THINKCELLSHAPEDONOTDELETE" val="thinkcellActiveDocDoNotDelete"/>
</p:tagLst>
</file>

<file path=ppt/tags/tag32.xml><?xml version="1.0" encoding="utf-8"?>
<p:tagLst xmlns:p="http://schemas.openxmlformats.org/presentationml/2006/main">
  <p:tag name="THINKCELLSHAPEDONOTDELETE" val="tQLENygviQLyBl83JsV6Plg"/>
</p:tagLst>
</file>

<file path=ppt/tags/tag33.xml><?xml version="1.0" encoding="utf-8"?>
<p:tagLst xmlns:p="http://schemas.openxmlformats.org/presentationml/2006/main">
  <p:tag name="THINKCELLSHAPEDONOTDELETE" val="thinkcellActiveDocDoNotDelete"/>
</p:tagLst>
</file>

<file path=ppt/tags/tag34.xml><?xml version="1.0" encoding="utf-8"?>
<p:tagLst xmlns:p="http://schemas.openxmlformats.org/presentationml/2006/main">
  <p:tag name="THINKCELLSHAPEDONOTDELETE" val="tQLENygviQLyBl83JsV6Plg"/>
</p:tagLst>
</file>

<file path=ppt/tags/tag35.xml><?xml version="1.0" encoding="utf-8"?>
<p:tagLst xmlns:p="http://schemas.openxmlformats.org/presentationml/2006/main">
  <p:tag name="THINKCELLSHAPEDONOTDELETE" val="thinkcellActiveDocDoNotDelete"/>
</p:tagLst>
</file>

<file path=ppt/tags/tag36.xml><?xml version="1.0" encoding="utf-8"?>
<p:tagLst xmlns:p="http://schemas.openxmlformats.org/presentationml/2006/main">
  <p:tag name="THINKCELLSHAPEDONOTDELETE" val="tQLENygviQLyBl83JsV6Plg"/>
</p:tagLst>
</file>

<file path=ppt/tags/tag37.xml><?xml version="1.0" encoding="utf-8"?>
<p:tagLst xmlns:p="http://schemas.openxmlformats.org/presentationml/2006/main">
  <p:tag name="THINKCELLSHAPEDONOTDELETE" val="thinkcellActiveDocDoNotDelete"/>
</p:tagLst>
</file>

<file path=ppt/tags/tag38.xml><?xml version="1.0" encoding="utf-8"?>
<p:tagLst xmlns:p="http://schemas.openxmlformats.org/presentationml/2006/main">
  <p:tag name="THINKCELLSHAPEDONOTDELETE" val="tQLENygviQLyBl83JsV6Plg"/>
</p:tagLst>
</file>

<file path=ppt/tags/tag39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CtXsL_FcQ4ecxtJfZcTn1A"/>
</p:tagLst>
</file>

<file path=ppt/tags/tag40.xml><?xml version="1.0" encoding="utf-8"?>
<p:tagLst xmlns:p="http://schemas.openxmlformats.org/presentationml/2006/main">
  <p:tag name="THINKCELLSHAPEDONOTDELETE" val="tQLENygviQLyBl83JsV6Plg"/>
</p:tagLst>
</file>

<file path=ppt/tags/tag41.xml><?xml version="1.0" encoding="utf-8"?>
<p:tagLst xmlns:p="http://schemas.openxmlformats.org/presentationml/2006/main">
  <p:tag name="THINKCELLSHAPEDONOTDELETE" val="thinkcellActiveDocDoNotDelete"/>
</p:tagLst>
</file>

<file path=ppt/tags/tag42.xml><?xml version="1.0" encoding="utf-8"?>
<p:tagLst xmlns:p="http://schemas.openxmlformats.org/presentationml/2006/main">
  <p:tag name="THINKCELLSHAPEDONOTDELETE" val="tQLENygviQLyBl83JsV6Plg"/>
</p:tagLst>
</file>

<file path=ppt/tags/tag43.xml><?xml version="1.0" encoding="utf-8"?>
<p:tagLst xmlns:p="http://schemas.openxmlformats.org/presentationml/2006/main">
  <p:tag name="THINKCELLSHAPEDONOTDELETE" val="thinkcellActiveDocDoNotDelete"/>
</p:tagLst>
</file>

<file path=ppt/tags/tag44.xml><?xml version="1.0" encoding="utf-8"?>
<p:tagLst xmlns:p="http://schemas.openxmlformats.org/presentationml/2006/main">
  <p:tag name="THINKCELLSHAPEDONOTDELETE" val="tQLENygviQLyBl83JsV6Plg"/>
</p:tagLst>
</file>

<file path=ppt/tags/tag45.xml><?xml version="1.0" encoding="utf-8"?>
<p:tagLst xmlns:p="http://schemas.openxmlformats.org/presentationml/2006/main">
  <p:tag name="THINKCELLSHAPEDONOTDELETE" val="thinkcellActiveDocDoNotDelete"/>
</p:tagLst>
</file>

<file path=ppt/tags/tag46.xml><?xml version="1.0" encoding="utf-8"?>
<p:tagLst xmlns:p="http://schemas.openxmlformats.org/presentationml/2006/main">
  <p:tag name="THINKCELLSHAPEDONOTDELETE" val="tQLENygviQLyBl83JsV6Plg"/>
</p:tagLst>
</file>

<file path=ppt/tags/tag47.xml><?xml version="1.0" encoding="utf-8"?>
<p:tagLst xmlns:p="http://schemas.openxmlformats.org/presentationml/2006/main">
  <p:tag name="THINKCELLSHAPEDONOTDELETE" val="thinkcellActiveDocDoNotDelete"/>
</p:tagLst>
</file>

<file path=ppt/tags/tag48.xml><?xml version="1.0" encoding="utf-8"?>
<p:tagLst xmlns:p="http://schemas.openxmlformats.org/presentationml/2006/main">
  <p:tag name="THINKCELLSHAPEDONOTDELETE" val="tQLENygviQLyBl83JsV6Plg"/>
</p:tagLst>
</file>

<file path=ppt/tags/tag49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50.xml><?xml version="1.0" encoding="utf-8"?>
<p:tagLst xmlns:p="http://schemas.openxmlformats.org/presentationml/2006/main">
  <p:tag name="THINKCELLSHAPEDONOTDELETE" val="tQLENygviQLyBl83JsV6Plg"/>
</p:tagLst>
</file>

<file path=ppt/tags/tag51.xml><?xml version="1.0" encoding="utf-8"?>
<p:tagLst xmlns:p="http://schemas.openxmlformats.org/presentationml/2006/main">
  <p:tag name="THINKCELLSHAPEDONOTDELETE" val="thinkcellActiveDocDoNotDelete"/>
</p:tagLst>
</file>

<file path=ppt/tags/tag52.xml><?xml version="1.0" encoding="utf-8"?>
<p:tagLst xmlns:p="http://schemas.openxmlformats.org/presentationml/2006/main">
  <p:tag name="THINKCELLSHAPEDONOTDELETE" val="tG1JxiPNwRz.CeyOxFcvljA"/>
</p:tagLst>
</file>

<file path=ppt/tags/tag53.xml><?xml version="1.0" encoding="utf-8"?>
<p:tagLst xmlns:p="http://schemas.openxmlformats.org/presentationml/2006/main">
  <p:tag name="THINKCELLSHAPEDONOTDELETE" val="thinkcellActiveDocDoNotDelete"/>
</p:tagLst>
</file>

<file path=ppt/tags/tag54.xml><?xml version="1.0" encoding="utf-8"?>
<p:tagLst xmlns:p="http://schemas.openxmlformats.org/presentationml/2006/main">
  <p:tag name="THINKCELLSHAPEDONOTDELETE" val="tQLENygviQLyBl83JsV6Plg"/>
</p:tagLst>
</file>

<file path=ppt/tags/tag55.xml><?xml version="1.0" encoding="utf-8"?>
<p:tagLst xmlns:p="http://schemas.openxmlformats.org/presentationml/2006/main">
  <p:tag name="THINKCELLSHAPEDONOTDELETE" val="thinkcellActiveDocDoNotDelete"/>
</p:tagLst>
</file>

<file path=ppt/tags/tag56.xml><?xml version="1.0" encoding="utf-8"?>
<p:tagLst xmlns:p="http://schemas.openxmlformats.org/presentationml/2006/main">
  <p:tag name="THINKCELLSHAPEDONOTDELETE" val="tQLENygviQLyBl83JsV6Plg"/>
</p:tagLst>
</file>

<file path=ppt/tags/tag57.xml><?xml version="1.0" encoding="utf-8"?>
<p:tagLst xmlns:p="http://schemas.openxmlformats.org/presentationml/2006/main">
  <p:tag name="THINKCELLSHAPEDONOTDELETE" val="thinkcellActiveDocDoNotDelete"/>
</p:tagLst>
</file>

<file path=ppt/tags/tag58.xml><?xml version="1.0" encoding="utf-8"?>
<p:tagLst xmlns:p="http://schemas.openxmlformats.org/presentationml/2006/main">
  <p:tag name="THINKCELLSHAPEDONOTDELETE" val="t6JrEv0hCRge0U7GucsMppQ"/>
</p:tagLst>
</file>

<file path=ppt/tags/tag59.xml><?xml version="1.0" encoding="utf-8"?>
<p:tagLst xmlns:p="http://schemas.openxmlformats.org/presentationml/2006/main">
  <p:tag name="THINKCELLSHAPEDONOTDELETE" val="thinkcellActiveDocDoNotDelete"/>
</p:tagLst>
</file>

<file path=ppt/tags/tag6.xml><?xml version="1.0" encoding="utf-8"?>
<p:tagLst xmlns:p="http://schemas.openxmlformats.org/presentationml/2006/main">
  <p:tag name="THINKCELLSHAPEDONOTDELETE" val="tCtXsL_FcQ4ecxtJfZcTn1A"/>
</p:tagLst>
</file>

<file path=ppt/tags/tag60.xml><?xml version="1.0" encoding="utf-8"?>
<p:tagLst xmlns:p="http://schemas.openxmlformats.org/presentationml/2006/main">
  <p:tag name="THINKCELLSHAPEDONOTDELETE" val="tQLENygviQLyBl83JsV6Plg"/>
</p:tagLst>
</file>

<file path=ppt/tags/tag61.xml><?xml version="1.0" encoding="utf-8"?>
<p:tagLst xmlns:p="http://schemas.openxmlformats.org/presentationml/2006/main">
  <p:tag name="THINKCELLSHAPEDONOTDELETE" val="thinkcellActiveDocDoNotDelete"/>
</p:tagLst>
</file>

<file path=ppt/tags/tag62.xml><?xml version="1.0" encoding="utf-8"?>
<p:tagLst xmlns:p="http://schemas.openxmlformats.org/presentationml/2006/main">
  <p:tag name="THINKCELLSHAPEDONOTDELETE" val="tQLENygviQLyBl83JsV6Plg"/>
</p:tagLst>
</file>

<file path=ppt/tags/tag63.xml><?xml version="1.0" encoding="utf-8"?>
<p:tagLst xmlns:p="http://schemas.openxmlformats.org/presentationml/2006/main">
  <p:tag name="THINKCELLSHAPEDONOTDELETE" val="thinkcellActiveDocDoNotDelete"/>
</p:tagLst>
</file>

<file path=ppt/tags/tag64.xml><?xml version="1.0" encoding="utf-8"?>
<p:tagLst xmlns:p="http://schemas.openxmlformats.org/presentationml/2006/main">
  <p:tag name="THINKCELLSHAPEDONOTDELETE" val="tQLENygviQLyBl83JsV6Plg"/>
</p:tagLst>
</file>

<file path=ppt/tags/tag65.xml><?xml version="1.0" encoding="utf-8"?>
<p:tagLst xmlns:p="http://schemas.openxmlformats.org/presentationml/2006/main">
  <p:tag name="THINKCELLSHAPEDONOTDELETE" val="thinkcellActiveDocDoNotDelete"/>
</p:tagLst>
</file>

<file path=ppt/tags/tag66.xml><?xml version="1.0" encoding="utf-8"?>
<p:tagLst xmlns:p="http://schemas.openxmlformats.org/presentationml/2006/main">
  <p:tag name="THINKCELLSHAPEDONOTDELETE" val="tQLENygviQLyBl83JsV6Plg"/>
</p:tagLst>
</file>

<file path=ppt/tags/tag67.xml><?xml version="1.0" encoding="utf-8"?>
<p:tagLst xmlns:p="http://schemas.openxmlformats.org/presentationml/2006/main">
  <p:tag name="THINKCELLSHAPEDONOTDELETE" val="thinkcellActiveDocDoNotDelete"/>
</p:tagLst>
</file>

<file path=ppt/tags/tag68.xml><?xml version="1.0" encoding="utf-8"?>
<p:tagLst xmlns:p="http://schemas.openxmlformats.org/presentationml/2006/main">
  <p:tag name="THINKCELLSHAPEDONOTDELETE" val="tQLENygviQLyBl83JsV6Plg"/>
</p:tagLst>
</file>

<file path=ppt/tags/tag69.xml><?xml version="1.0" encoding="utf-8"?>
<p:tagLst xmlns:p="http://schemas.openxmlformats.org/presentationml/2006/main">
  <p:tag name="THINKCELLSHAPEDONOTDELETE" val="thinkcellActiveDocDoNotDelete"/>
</p:tagLst>
</file>

<file path=ppt/tags/tag7.xml><?xml version="1.0" encoding="utf-8"?>
<p:tagLst xmlns:p="http://schemas.openxmlformats.org/presentationml/2006/main">
  <p:tag name="KSO_WM_UNIT_TABLE_BEAUTIFY" val="smartTable{7a40a6f9-7244-4fce-92a2-a83749066e06}"/>
</p:tagLst>
</file>

<file path=ppt/tags/tag70.xml><?xml version="1.0" encoding="utf-8"?>
<p:tagLst xmlns:p="http://schemas.openxmlformats.org/presentationml/2006/main">
  <p:tag name="THINKCELLSHAPEDONOTDELETE" val="tAqrdWBk6QOqdh7N2Sulvng"/>
</p:tagLst>
</file>

<file path=ppt/tags/tag71.xml><?xml version="1.0" encoding="utf-8"?>
<p:tagLst xmlns:p="http://schemas.openxmlformats.org/presentationml/2006/main">
  <p:tag name="KSO_WM_UNIT_TABLE_BEAUTIFY" val="smartTable{9cc6a109-eeda-4af5-898f-f3c6b898ed08}"/>
</p:tagLst>
</file>

<file path=ppt/tags/tag72.xml><?xml version="1.0" encoding="utf-8"?>
<p:tagLst xmlns:p="http://schemas.openxmlformats.org/presentationml/2006/main">
  <p:tag name="THINKCELLSHAPEDONOTDELETE" val="thinkcellActiveDocDoNotDelete"/>
</p:tagLst>
</file>

<file path=ppt/tags/tag73.xml><?xml version="1.0" encoding="utf-8"?>
<p:tagLst xmlns:p="http://schemas.openxmlformats.org/presentationml/2006/main">
  <p:tag name="THINKCELLSHAPEDONOTDELETE" val="tAqrdWBk6QOqdh7N2Sulvng"/>
</p:tagLst>
</file>

<file path=ppt/tags/tag74.xml><?xml version="1.0" encoding="utf-8"?>
<p:tagLst xmlns:p="http://schemas.openxmlformats.org/presentationml/2006/main">
  <p:tag name="KSO_WM_UNIT_TABLE_BEAUTIFY" val="smartTable{dfb63ea6-2e9e-4201-988a-f90fc0aa7d9f}"/>
</p:tagLst>
</file>

<file path=ppt/tags/tag75.xml><?xml version="1.0" encoding="utf-8"?>
<p:tagLst xmlns:p="http://schemas.openxmlformats.org/presentationml/2006/main">
  <p:tag name="THINKCELLUNDODONOTDELETE" val="0"/>
</p:tagLst>
</file>

<file path=ppt/tags/tag8.xml><?xml version="1.0" encoding="utf-8"?>
<p:tagLst xmlns:p="http://schemas.openxmlformats.org/presentationml/2006/main">
  <p:tag name="THINKCELLSHAPEDONOTDELETE" val="thinkcellActiveDocDoNotDelete"/>
</p:tagLst>
</file>

<file path=ppt/tags/tag9.xml><?xml version="1.0" encoding="utf-8"?>
<p:tagLst xmlns:p="http://schemas.openxmlformats.org/presentationml/2006/main">
  <p:tag name="THINKCELLSHAPEDONOTDELETE" val="tQLENygviQLyBl83JsV6Plg"/>
</p:tagLst>
</file>

<file path=ppt/theme/theme1.xml><?xml version="1.0" encoding="utf-8"?>
<a:theme xmlns:a="http://schemas.openxmlformats.org/drawingml/2006/main" name="Audi_PPT-Template_16x9_EN">
  <a:themeElements>
    <a:clrScheme name="AUDI 02">
      <a:dk1>
        <a:srgbClr val="000000"/>
      </a:dk1>
      <a:lt1>
        <a:srgbClr val="FFFFFF"/>
      </a:lt1>
      <a:dk2>
        <a:srgbClr val="000000"/>
      </a:dk2>
      <a:lt2>
        <a:srgbClr val="DADADA"/>
      </a:lt2>
      <a:accent1>
        <a:srgbClr val="DADADA"/>
      </a:accent1>
      <a:accent2>
        <a:srgbClr val="C6C6C6"/>
      </a:accent2>
      <a:accent3>
        <a:srgbClr val="9D9D9D"/>
      </a:accent3>
      <a:accent4>
        <a:srgbClr val="575757"/>
      </a:accent4>
      <a:accent5>
        <a:srgbClr val="000000"/>
      </a:accent5>
      <a:accent6>
        <a:srgbClr val="BB0A30"/>
      </a:accent6>
      <a:hlink>
        <a:srgbClr val="000000"/>
      </a:hlink>
      <a:folHlink>
        <a:srgbClr val="C6C6C6"/>
      </a:folHlink>
    </a:clrScheme>
    <a:fontScheme name="Audi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 cap="sq" cmpd="sng" algn="ctr">
          <a:noFill/>
          <a:prstDash val="solid"/>
          <a:miter lim="800000"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noAutofit/>
      </a:bodyPr>
      <a:lstStyle>
        <a:defPPr algn="l">
          <a:lnSpc>
            <a:spcPct val="110000"/>
          </a:lnSpc>
          <a:spcBef>
            <a:spcPts val="800"/>
          </a:spcBef>
          <a:spcAft>
            <a:spcPts val="600"/>
          </a:spcAft>
          <a:defRPr sz="1400" b="1" smtClean="0">
            <a:solidFill>
              <a:schemeClr val="tx1"/>
            </a:solidFill>
            <a:latin typeface="+mn-lt"/>
          </a:defRPr>
        </a:defPPr>
      </a:lstStyle>
    </a:spDef>
    <a:lnDef>
      <a:spPr>
        <a:noFill/>
        <a:ln w="9525" cap="flat" cmpd="sng" algn="ctr">
          <a:solidFill>
            <a:schemeClr val="tx2"/>
          </a:solidFill>
          <a:prstDash val="solid"/>
        </a:ln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marL="0" marR="0" indent="0" defTabSz="914400" eaLnBrk="1" fontAlgn="auto" latinLnBrk="0" hangingPunct="1">
          <a:lnSpc>
            <a:spcPct val="11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4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</a:defRPr>
        </a:defPPr>
      </a:lstStyle>
    </a:txDef>
  </a:objectDefaults>
  <a:custClrLst>
    <a:custClr name="Audi Red">
      <a:srgbClr val="BB0A30"/>
    </a:custClr>
    <a:custClr name="Green">
      <a:srgbClr val="CACE98"/>
    </a:custClr>
    <a:custClr name="Brown">
      <a:srgbClr val="715D49"/>
    </a:custClr>
    <a:custClr name="Purple">
      <a:srgbClr val="6C4859"/>
    </a:custClr>
    <a:custClr name="Dark Blue">
      <a:srgbClr val="544C70"/>
    </a:custClr>
    <a:custClr name="Light Blue">
      <a:srgbClr val="6682A4"/>
    </a:custClr>
    <a:custClr name="Yellow">
      <a:srgbClr val="FFD671"/>
    </a:custClr>
    <a:custClr name="Audi Red">
      <a:srgbClr val="BB0A30"/>
    </a:custClr>
    <a:custClr name="Traffic light Yellow">
      <a:srgbClr val="FFAA00"/>
    </a:custClr>
    <a:custClr name="Traffic light Green">
      <a:srgbClr val="009900"/>
    </a:custClr>
    <a:custClr name="Aluminium Silver">
      <a:srgbClr val="B3B3B3"/>
    </a:custClr>
    <a:custClr name="Warm Silver">
      <a:srgbClr val="B6B1A9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">
  <a:themeElements>
    <a:clrScheme name="Audi alt">
      <a:dk1>
        <a:sysClr val="windowText" lastClr="000000"/>
      </a:dk1>
      <a:lt1>
        <a:sysClr val="window" lastClr="FFFFFF"/>
      </a:lt1>
      <a:dk2>
        <a:srgbClr val="6D7579"/>
      </a:dk2>
      <a:lt2>
        <a:srgbClr val="AA142D"/>
      </a:lt2>
      <a:accent1>
        <a:srgbClr val="D5D9D8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00"/>
      </a:hlink>
      <a:folHlink>
        <a:srgbClr val="000000"/>
      </a:folHlink>
    </a:clrScheme>
    <a:fontScheme name="Audi final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Audi alt">
      <a:dk1>
        <a:sysClr val="windowText" lastClr="000000"/>
      </a:dk1>
      <a:lt1>
        <a:sysClr val="window" lastClr="FFFFFF"/>
      </a:lt1>
      <a:dk2>
        <a:srgbClr val="6D7579"/>
      </a:dk2>
      <a:lt2>
        <a:srgbClr val="AA142D"/>
      </a:lt2>
      <a:accent1>
        <a:srgbClr val="D5D9D8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00"/>
      </a:hlink>
      <a:folHlink>
        <a:srgbClr val="000000"/>
      </a:folHlink>
    </a:clrScheme>
    <a:fontScheme name="Audi final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6x9 Audi template_confidential</Template>
  <TotalTime>0</TotalTime>
  <Words>11149</Words>
  <Application>WPS 演示</Application>
  <PresentationFormat>宽屏</PresentationFormat>
  <Paragraphs>662</Paragraphs>
  <Slides>34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34</vt:i4>
      </vt:variant>
      <vt:variant>
        <vt:lpstr>幻灯片标题</vt:lpstr>
      </vt:variant>
      <vt:variant>
        <vt:i4>34</vt:i4>
      </vt:variant>
    </vt:vector>
  </HeadingPairs>
  <TitlesOfParts>
    <vt:vector size="87" baseType="lpstr">
      <vt:lpstr>Arial</vt:lpstr>
      <vt:lpstr>宋体</vt:lpstr>
      <vt:lpstr>Wingdings</vt:lpstr>
      <vt:lpstr>Audi Type Extended</vt:lpstr>
      <vt:lpstr>Audi Type</vt:lpstr>
      <vt:lpstr>Symbol</vt:lpstr>
      <vt:lpstr>Segoe Print</vt:lpstr>
      <vt:lpstr>等线</vt:lpstr>
      <vt:lpstr>Audi Type</vt:lpstr>
      <vt:lpstr>Calibri</vt:lpstr>
      <vt:lpstr>微软雅黑</vt:lpstr>
      <vt:lpstr>Arial Unicode MS</vt:lpstr>
      <vt:lpstr>Arial</vt:lpstr>
      <vt:lpstr>Heiti SC Light</vt:lpstr>
      <vt:lpstr>VW Headline OT-Book</vt:lpstr>
      <vt:lpstr>Arial Black</vt:lpstr>
      <vt:lpstr>Wide Latin</vt:lpstr>
      <vt:lpstr>Audi Type</vt:lpstr>
      <vt:lpstr>Audi_PPT-Template_16x9_EN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he Weekly Report of Go e-tron App (CW08, 2020)   Feb 24,2020 </vt:lpstr>
      <vt:lpstr>Content</vt:lpstr>
      <vt:lpstr>Data summary  </vt:lpstr>
      <vt:lpstr>Daily downloads CW08 vs. CW07</vt:lpstr>
      <vt:lpstr>Weekly downloads since go live</vt:lpstr>
      <vt:lpstr>Average weekly downloads &amp; average daily downloads</vt:lpstr>
      <vt:lpstr>Monthly downloads since go live </vt:lpstr>
      <vt:lpstr>Daily active users CW08 vs. CW07</vt:lpstr>
      <vt:lpstr>Weekly active users since go live </vt:lpstr>
      <vt:lpstr>Average weekly active users &amp; average daily active users </vt:lpstr>
      <vt:lpstr>Monthly actives users since go live</vt:lpstr>
      <vt:lpstr>Daily journeys CW08 vs. CW07</vt:lpstr>
      <vt:lpstr>Weekly journeys since go live </vt:lpstr>
      <vt:lpstr>Average weekly journeys &amp; average daily journeys</vt:lpstr>
      <vt:lpstr>Monthly journeys since go live</vt:lpstr>
      <vt:lpstr>Daily running time CW08 vs. CW07</vt:lpstr>
      <vt:lpstr>Weekly running time since go live </vt:lpstr>
      <vt:lpstr>Average weekly running time &amp; average daily running time</vt:lpstr>
      <vt:lpstr>Monthly running time since go live </vt:lpstr>
      <vt:lpstr>User activities CW08 vs. CW07</vt:lpstr>
      <vt:lpstr>Weekly user activities since go live</vt:lpstr>
      <vt:lpstr>Average weekly user activities &amp; average daily user activities </vt:lpstr>
      <vt:lpstr>Monthly user activities since go live</vt:lpstr>
      <vt:lpstr>User preferred charging destination analysis CW08 vs. CW07</vt:lpstr>
      <vt:lpstr>Weekly user preferred charging destination analysis since go live</vt:lpstr>
      <vt:lpstr>Average weekly selected times &amp; average daily selected times</vt:lpstr>
      <vt:lpstr>Monthly user preferred charging destination analysis since go live</vt:lpstr>
      <vt:lpstr>Daily recommended times CW08 vs. CW07 </vt:lpstr>
      <vt:lpstr>Weekly recommended times since go live </vt:lpstr>
      <vt:lpstr>Average weekly recommended times &amp; average daily recommended times</vt:lpstr>
      <vt:lpstr>Monthly recommended times since go live</vt:lpstr>
      <vt:lpstr>Tickets/requests report of CW08</vt:lpstr>
      <vt:lpstr>Log &amp; alert review report of CW08  </vt:lpstr>
      <vt:lpstr>SLA report of CW08 </vt:lpstr>
    </vt:vector>
  </TitlesOfParts>
  <Company>Volkswagen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eng, Junge</dc:creator>
  <cp:lastModifiedBy>Pactera</cp:lastModifiedBy>
  <cp:revision>1248</cp:revision>
  <dcterms:created xsi:type="dcterms:W3CDTF">2019-06-18T08:03:00Z</dcterms:created>
  <dcterms:modified xsi:type="dcterms:W3CDTF">2020-02-24T07:50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KSOProductBuildVer">
    <vt:lpwstr>2052-11.1.0.9339</vt:lpwstr>
  </property>
</Properties>
</file>